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1.xml" ContentType="application/vnd.openxmlformats-officedocument.presentationml.notesSlide+xml"/>
  <Override PartName="/ppt/charts/chart201.xml" ContentType="application/vnd.openxmlformats-officedocument.drawingml.chart+xml"/>
  <Override PartName="/ppt/tags/tag259.xml" ContentType="application/vnd.openxmlformats-officedocument.presentationml.tags+xml"/>
  <Override PartName="/ppt/notesSlides/notesSlide2.xml" ContentType="application/vnd.openxmlformats-officedocument.presentationml.notesSlide+xml"/>
  <Override PartName="/ppt/charts/chart202.xml" ContentType="application/vnd.openxmlformats-officedocument.drawingml.chart+xml"/>
  <Override PartName="/ppt/tags/tag260.xml" ContentType="application/vnd.openxmlformats-officedocument.presentationml.tags+xml"/>
  <Override PartName="/ppt/notesSlides/notesSlide3.xml" ContentType="application/vnd.openxmlformats-officedocument.presentationml.notesSlide+xml"/>
  <Override PartName="/ppt/charts/chart203.xml" ContentType="application/vnd.openxmlformats-officedocument.drawingml.chart+xml"/>
  <Override PartName="/ppt/tags/tag261.xml" ContentType="application/vnd.openxmlformats-officedocument.presentationml.tags+xml"/>
  <Override PartName="/ppt/notesSlides/notesSlide4.xml" ContentType="application/vnd.openxmlformats-officedocument.presentationml.notesSlide+xml"/>
  <Override PartName="/ppt/charts/chart204.xml" ContentType="application/vnd.openxmlformats-officedocument.drawingml.chart+xml"/>
  <Override PartName="/ppt/tags/tag262.xml" ContentType="application/vnd.openxmlformats-officedocument.presentationml.tags+xml"/>
  <Override PartName="/ppt/notesSlides/notesSlide5.xml" ContentType="application/vnd.openxmlformats-officedocument.presentationml.notesSlide+xml"/>
  <Override PartName="/ppt/charts/chart205.xml" ContentType="application/vnd.openxmlformats-officedocument.drawingml.chart+xml"/>
  <Override PartName="/ppt/tags/tag263.xml" ContentType="application/vnd.openxmlformats-officedocument.presentationml.tags+xml"/>
  <Override PartName="/ppt/notesSlides/notesSlide6.xml" ContentType="application/vnd.openxmlformats-officedocument.presentationml.notesSlide+xml"/>
  <Override PartName="/ppt/charts/chart206.xml" ContentType="application/vnd.openxmlformats-officedocument.drawingml.chart+xml"/>
  <Override PartName="/ppt/tags/tag264.xml" ContentType="application/vnd.openxmlformats-officedocument.presentationml.tags+xml"/>
  <Override PartName="/ppt/notesSlides/notesSlide7.xml" ContentType="application/vnd.openxmlformats-officedocument.presentationml.notesSlide+xml"/>
  <Override PartName="/ppt/charts/chart207.xml" ContentType="application/vnd.openxmlformats-officedocument.drawingml.chart+xml"/>
  <Override PartName="/ppt/tags/tag265.xml" ContentType="application/vnd.openxmlformats-officedocument.presentationml.tags+xml"/>
  <Override PartName="/ppt/notesSlides/notesSlide8.xml" ContentType="application/vnd.openxmlformats-officedocument.presentationml.notesSlide+xml"/>
  <Override PartName="/ppt/charts/chart208.xml" ContentType="application/vnd.openxmlformats-officedocument.drawingml.chart+xml"/>
  <Override PartName="/ppt/tags/tag266.xml" ContentType="application/vnd.openxmlformats-officedocument.presentationml.tags+xml"/>
  <Override PartName="/ppt/notesSlides/notesSlide9.xml" ContentType="application/vnd.openxmlformats-officedocument.presentationml.notesSlide+xml"/>
  <Override PartName="/ppt/charts/chart209.xml" ContentType="application/vnd.openxmlformats-officedocument.drawingml.chart+xml"/>
  <Override PartName="/ppt/tags/tag267.xml" ContentType="application/vnd.openxmlformats-officedocument.presentationml.tags+xml"/>
  <Override PartName="/ppt/notesSlides/notesSlide10.xml" ContentType="application/vnd.openxmlformats-officedocument.presentationml.notesSlide+xml"/>
  <Override PartName="/ppt/charts/chart210.xml" ContentType="application/vnd.openxmlformats-officedocument.drawingml.chart+xml"/>
  <Override PartName="/ppt/tags/tag268.xml" ContentType="application/vnd.openxmlformats-officedocument.presentationml.tags+xml"/>
  <Override PartName="/ppt/notesSlides/notesSlide11.xml" ContentType="application/vnd.openxmlformats-officedocument.presentationml.notesSlide+xml"/>
  <Override PartName="/ppt/charts/chart211.xml" ContentType="application/vnd.openxmlformats-officedocument.drawingml.chart+xml"/>
  <Override PartName="/ppt/tags/tag269.xml" ContentType="application/vnd.openxmlformats-officedocument.presentationml.tags+xml"/>
  <Override PartName="/ppt/notesSlides/notesSlide12.xml" ContentType="application/vnd.openxmlformats-officedocument.presentationml.notesSlide+xml"/>
  <Override PartName="/ppt/charts/chart212.xml" ContentType="application/vnd.openxmlformats-officedocument.drawingml.chart+xml"/>
  <Override PartName="/ppt/tags/tag270.xml" ContentType="application/vnd.openxmlformats-officedocument.presentationml.tags+xml"/>
  <Override PartName="/ppt/notesSlides/notesSlide13.xml" ContentType="application/vnd.openxmlformats-officedocument.presentationml.notesSlide+xml"/>
  <Override PartName="/ppt/charts/chart213.xml" ContentType="application/vnd.openxmlformats-officedocument.drawingml.chart+xml"/>
  <Override PartName="/ppt/tags/tag271.xml" ContentType="application/vnd.openxmlformats-officedocument.presentationml.tags+xml"/>
  <Override PartName="/ppt/notesSlides/notesSlide14.xml" ContentType="application/vnd.openxmlformats-officedocument.presentationml.notesSlide+xml"/>
  <Override PartName="/ppt/charts/chart214.xml" ContentType="application/vnd.openxmlformats-officedocument.drawingml.chart+xml"/>
  <Override PartName="/ppt/tags/tag272.xml" ContentType="application/vnd.openxmlformats-officedocument.presentationml.tags+xml"/>
  <Override PartName="/ppt/notesSlides/notesSlide15.xml" ContentType="application/vnd.openxmlformats-officedocument.presentationml.notesSlide+xml"/>
  <Override PartName="/ppt/charts/chart215.xml" ContentType="application/vnd.openxmlformats-officedocument.drawingml.chart+xml"/>
  <Override PartName="/ppt/tags/tag273.xml" ContentType="application/vnd.openxmlformats-officedocument.presentationml.tags+xml"/>
  <Override PartName="/ppt/notesSlides/notesSlide16.xml" ContentType="application/vnd.openxmlformats-officedocument.presentationml.notesSlide+xml"/>
  <Override PartName="/ppt/charts/chart216.xml" ContentType="application/vnd.openxmlformats-officedocument.drawingml.chart+xml"/>
  <Override PartName="/ppt/tags/tag274.xml" ContentType="application/vnd.openxmlformats-officedocument.presentationml.tags+xml"/>
  <Override PartName="/ppt/notesSlides/notesSlide17.xml" ContentType="application/vnd.openxmlformats-officedocument.presentationml.notesSlide+xml"/>
  <Override PartName="/ppt/charts/chart217.xml" ContentType="application/vnd.openxmlformats-officedocument.drawingml.chart+xml"/>
  <Override PartName="/ppt/tags/tag275.xml" ContentType="application/vnd.openxmlformats-officedocument.presentationml.tags+xml"/>
  <Override PartName="/ppt/notesSlides/notesSlide18.xml" ContentType="application/vnd.openxmlformats-officedocument.presentationml.notesSlide+xml"/>
  <Override PartName="/ppt/charts/chart218.xml" ContentType="application/vnd.openxmlformats-officedocument.drawingml.chart+xml"/>
  <Override PartName="/ppt/tags/tag276.xml" ContentType="application/vnd.openxmlformats-officedocument.presentationml.tags+xml"/>
  <Override PartName="/ppt/notesSlides/notesSlide19.xml" ContentType="application/vnd.openxmlformats-officedocument.presentationml.notesSlide+xml"/>
  <Override PartName="/ppt/charts/chart219.xml" ContentType="application/vnd.openxmlformats-officedocument.drawingml.chart+xml"/>
  <Override PartName="/ppt/tags/tag277.xml" ContentType="application/vnd.openxmlformats-officedocument.presentationml.tags+xml"/>
  <Override PartName="/ppt/notesSlides/notesSlide20.xml" ContentType="application/vnd.openxmlformats-officedocument.presentationml.notesSlide+xml"/>
  <Override PartName="/ppt/charts/chart220.xml" ContentType="application/vnd.openxmlformats-officedocument.drawingml.chart+xml"/>
  <Override PartName="/ppt/tags/tag278.xml" ContentType="application/vnd.openxmlformats-officedocument.presentationml.tags+xml"/>
  <Override PartName="/ppt/notesSlides/notesSlide21.xml" ContentType="application/vnd.openxmlformats-officedocument.presentationml.notesSlide+xml"/>
  <Override PartName="/ppt/charts/chart221.xml" ContentType="application/vnd.openxmlformats-officedocument.drawingml.chart+xml"/>
  <Override PartName="/ppt/tags/tag279.xml" ContentType="application/vnd.openxmlformats-officedocument.presentationml.tags+xml"/>
  <Override PartName="/ppt/notesSlides/notesSlide22.xml" ContentType="application/vnd.openxmlformats-officedocument.presentationml.notesSlide+xml"/>
  <Override PartName="/ppt/charts/chart222.xml" ContentType="application/vnd.openxmlformats-officedocument.drawingml.chart+xml"/>
  <Override PartName="/ppt/tags/tag280.xml" ContentType="application/vnd.openxmlformats-officedocument.presentationml.tags+xml"/>
  <Override PartName="/ppt/notesSlides/notesSlide23.xml" ContentType="application/vnd.openxmlformats-officedocument.presentationml.notesSlide+xml"/>
  <Override PartName="/ppt/charts/chart223.xml" ContentType="application/vnd.openxmlformats-officedocument.drawingml.chart+xml"/>
  <Override PartName="/ppt/tags/tag281.xml" ContentType="application/vnd.openxmlformats-officedocument.presentationml.tags+xml"/>
  <Override PartName="/ppt/notesSlides/notesSlide24.xml" ContentType="application/vnd.openxmlformats-officedocument.presentationml.notesSlide+xml"/>
  <Override PartName="/ppt/charts/chart224.xml" ContentType="application/vnd.openxmlformats-officedocument.drawingml.chart+xml"/>
  <Override PartName="/ppt/tags/tag282.xml" ContentType="application/vnd.openxmlformats-officedocument.presentationml.tags+xml"/>
  <Override PartName="/ppt/notesSlides/notesSlide25.xml" ContentType="application/vnd.openxmlformats-officedocument.presentationml.notesSlide+xml"/>
  <Override PartName="/ppt/charts/chart225.xml" ContentType="application/vnd.openxmlformats-officedocument.drawingml.chart+xml"/>
  <Override PartName="/ppt/tags/tag283.xml" ContentType="application/vnd.openxmlformats-officedocument.presentationml.tags+xml"/>
  <Override PartName="/ppt/notesSlides/notesSlide26.xml" ContentType="application/vnd.openxmlformats-officedocument.presentationml.notesSlide+xml"/>
  <Override PartName="/ppt/charts/chart226.xml" ContentType="application/vnd.openxmlformats-officedocument.drawingml.chart+xml"/>
  <Override PartName="/ppt/tags/tag284.xml" ContentType="application/vnd.openxmlformats-officedocument.presentationml.tags+xml"/>
  <Override PartName="/ppt/notesSlides/notesSlide27.xml" ContentType="application/vnd.openxmlformats-officedocument.presentationml.notesSlide+xml"/>
  <Override PartName="/ppt/charts/chart227.xml" ContentType="application/vnd.openxmlformats-officedocument.drawingml.chart+xml"/>
  <Override PartName="/ppt/tags/tag285.xml" ContentType="application/vnd.openxmlformats-officedocument.presentationml.tags+xml"/>
  <Override PartName="/ppt/notesSlides/notesSlide28.xml" ContentType="application/vnd.openxmlformats-officedocument.presentationml.notesSlide+xml"/>
  <Override PartName="/ppt/charts/chart228.xml" ContentType="application/vnd.openxmlformats-officedocument.drawingml.chart+xml"/>
  <Override PartName="/ppt/tags/tag286.xml" ContentType="application/vnd.openxmlformats-officedocument.presentationml.tags+xml"/>
  <Override PartName="/ppt/notesSlides/notesSlide29.xml" ContentType="application/vnd.openxmlformats-officedocument.presentationml.notesSlide+xml"/>
  <Override PartName="/ppt/charts/chart229.xml" ContentType="application/vnd.openxmlformats-officedocument.drawingml.chart+xml"/>
  <Override PartName="/ppt/tags/tag287.xml" ContentType="application/vnd.openxmlformats-officedocument.presentationml.tags+xml"/>
  <Override PartName="/ppt/notesSlides/notesSlide30.xml" ContentType="application/vnd.openxmlformats-officedocument.presentationml.notesSlide+xml"/>
  <Override PartName="/ppt/charts/chart230.xml" ContentType="application/vnd.openxmlformats-officedocument.drawingml.chart+xml"/>
  <Override PartName="/ppt/tags/tag288.xml" ContentType="application/vnd.openxmlformats-officedocument.presentationml.tags+xml"/>
  <Override PartName="/ppt/notesSlides/notesSlide31.xml" ContentType="application/vnd.openxmlformats-officedocument.presentationml.notesSlide+xml"/>
  <Override PartName="/ppt/charts/chart231.xml" ContentType="application/vnd.openxmlformats-officedocument.drawingml.chart+xml"/>
  <Override PartName="/ppt/tags/tag289.xml" ContentType="application/vnd.openxmlformats-officedocument.presentationml.tags+xml"/>
  <Override PartName="/ppt/notesSlides/notesSlide32.xml" ContentType="application/vnd.openxmlformats-officedocument.presentationml.notesSlide+xml"/>
  <Override PartName="/ppt/charts/chart232.xml" ContentType="application/vnd.openxmlformats-officedocument.drawingml.chart+xml"/>
  <Override PartName="/ppt/tags/tag290.xml" ContentType="application/vnd.openxmlformats-officedocument.presentationml.tags+xml"/>
  <Override PartName="/ppt/notesSlides/notesSlide33.xml" ContentType="application/vnd.openxmlformats-officedocument.presentationml.notesSlide+xml"/>
  <Override PartName="/ppt/charts/chart233.xml" ContentType="application/vnd.openxmlformats-officedocument.drawingml.chart+xml"/>
  <Override PartName="/ppt/tags/tag291.xml" ContentType="application/vnd.openxmlformats-officedocument.presentationml.tags+xml"/>
  <Override PartName="/ppt/notesSlides/notesSlide34.xml" ContentType="application/vnd.openxmlformats-officedocument.presentationml.notesSlide+xml"/>
  <Override PartName="/ppt/charts/chart234.xml" ContentType="application/vnd.openxmlformats-officedocument.drawingml.chart+xml"/>
  <Override PartName="/ppt/tags/tag292.xml" ContentType="application/vnd.openxmlformats-officedocument.presentationml.tags+xml"/>
  <Override PartName="/ppt/notesSlides/notesSlide35.xml" ContentType="application/vnd.openxmlformats-officedocument.presentationml.notesSlide+xml"/>
  <Override PartName="/ppt/charts/chart235.xml" ContentType="application/vnd.openxmlformats-officedocument.drawingml.chart+xml"/>
  <Override PartName="/ppt/tags/tag293.xml" ContentType="application/vnd.openxmlformats-officedocument.presentationml.tags+xml"/>
  <Override PartName="/ppt/notesSlides/notesSlide36.xml" ContentType="application/vnd.openxmlformats-officedocument.presentationml.notesSlide+xml"/>
  <Override PartName="/ppt/charts/chart236.xml" ContentType="application/vnd.openxmlformats-officedocument.drawingml.chart+xml"/>
  <Override PartName="/ppt/tags/tag294.xml" ContentType="application/vnd.openxmlformats-officedocument.presentationml.tags+xml"/>
  <Override PartName="/ppt/notesSlides/notesSlide37.xml" ContentType="application/vnd.openxmlformats-officedocument.presentationml.notesSlide+xml"/>
  <Override PartName="/ppt/charts/chart237.xml" ContentType="application/vnd.openxmlformats-officedocument.drawingml.chart+xml"/>
  <Override PartName="/ppt/tags/tag295.xml" ContentType="application/vnd.openxmlformats-officedocument.presentationml.tags+xml"/>
  <Override PartName="/ppt/notesSlides/notesSlide38.xml" ContentType="application/vnd.openxmlformats-officedocument.presentationml.notesSlide+xml"/>
  <Override PartName="/ppt/charts/chart238.xml" ContentType="application/vnd.openxmlformats-officedocument.drawingml.chart+xml"/>
  <Override PartName="/ppt/tags/tag296.xml" ContentType="application/vnd.openxmlformats-officedocument.presentationml.tags+xml"/>
  <Override PartName="/ppt/notesSlides/notesSlide39.xml" ContentType="application/vnd.openxmlformats-officedocument.presentationml.notesSlide+xml"/>
  <Override PartName="/ppt/charts/chart239.xml" ContentType="application/vnd.openxmlformats-officedocument.drawingml.chart+xml"/>
  <Override PartName="/ppt/tags/tag297.xml" ContentType="application/vnd.openxmlformats-officedocument.presentationml.tags+xml"/>
  <Override PartName="/ppt/notesSlides/notesSlide40.xml" ContentType="application/vnd.openxmlformats-officedocument.presentationml.notesSlide+xml"/>
  <Override PartName="/ppt/charts/chart240.xml" ContentType="application/vnd.openxmlformats-officedocument.drawingml.chart+xml"/>
  <Override PartName="/ppt/tags/tag298.xml" ContentType="application/vnd.openxmlformats-officedocument.presentationml.tags+xml"/>
  <Override PartName="/ppt/notesSlides/notesSlide41.xml" ContentType="application/vnd.openxmlformats-officedocument.presentationml.notesSlide+xml"/>
  <Override PartName="/ppt/charts/chart241.xml" ContentType="application/vnd.openxmlformats-officedocument.drawingml.chart+xml"/>
  <Override PartName="/ppt/tags/tag299.xml" ContentType="application/vnd.openxmlformats-officedocument.presentationml.tags+xml"/>
  <Override PartName="/ppt/notesSlides/notesSlide42.xml" ContentType="application/vnd.openxmlformats-officedocument.presentationml.notesSlide+xml"/>
  <Override PartName="/ppt/charts/chart242.xml" ContentType="application/vnd.openxmlformats-officedocument.drawingml.chart+xml"/>
  <Override PartName="/ppt/tags/tag300.xml" ContentType="application/vnd.openxmlformats-officedocument.presentationml.tags+xml"/>
  <Override PartName="/ppt/notesSlides/notesSlide43.xml" ContentType="application/vnd.openxmlformats-officedocument.presentationml.notesSlide+xml"/>
  <Override PartName="/ppt/charts/chart243.xml" ContentType="application/vnd.openxmlformats-officedocument.drawingml.chart+xml"/>
  <Override PartName="/ppt/tags/tag301.xml" ContentType="application/vnd.openxmlformats-officedocument.presentationml.tags+xml"/>
  <Override PartName="/ppt/notesSlides/notesSlide44.xml" ContentType="application/vnd.openxmlformats-officedocument.presentationml.notesSlide+xml"/>
  <Override PartName="/ppt/charts/chart244.xml" ContentType="application/vnd.openxmlformats-officedocument.drawingml.chart+xml"/>
  <Override PartName="/ppt/tags/tag302.xml" ContentType="application/vnd.openxmlformats-officedocument.presentationml.tags+xml"/>
  <Override PartName="/ppt/notesSlides/notesSlide45.xml" ContentType="application/vnd.openxmlformats-officedocument.presentationml.notesSlide+xml"/>
  <Override PartName="/ppt/charts/chart245.xml" ContentType="application/vnd.openxmlformats-officedocument.drawingml.chart+xml"/>
  <Override PartName="/ppt/tags/tag303.xml" ContentType="application/vnd.openxmlformats-officedocument.presentationml.tags+xml"/>
  <Override PartName="/ppt/notesSlides/notesSlide46.xml" ContentType="application/vnd.openxmlformats-officedocument.presentationml.notesSlide+xml"/>
  <Override PartName="/ppt/charts/chart246.xml" ContentType="application/vnd.openxmlformats-officedocument.drawingml.chart+xml"/>
  <Override PartName="/ppt/tags/tag304.xml" ContentType="application/vnd.openxmlformats-officedocument.presentationml.tags+xml"/>
  <Override PartName="/ppt/notesSlides/notesSlide47.xml" ContentType="application/vnd.openxmlformats-officedocument.presentationml.notesSlide+xml"/>
  <Override PartName="/ppt/charts/chart247.xml" ContentType="application/vnd.openxmlformats-officedocument.drawingml.chart+xml"/>
  <Override PartName="/ppt/tags/tag305.xml" ContentType="application/vnd.openxmlformats-officedocument.presentationml.tags+xml"/>
  <Override PartName="/ppt/notesSlides/notesSlide48.xml" ContentType="application/vnd.openxmlformats-officedocument.presentationml.notesSlide+xml"/>
  <Override PartName="/ppt/charts/chart248.xml" ContentType="application/vnd.openxmlformats-officedocument.drawingml.chart+xml"/>
  <Override PartName="/ppt/tags/tag306.xml" ContentType="application/vnd.openxmlformats-officedocument.presentationml.tags+xml"/>
  <Override PartName="/ppt/notesSlides/notesSlide49.xml" ContentType="application/vnd.openxmlformats-officedocument.presentationml.notesSlide+xml"/>
  <Override PartName="/ppt/charts/chart249.xml" ContentType="application/vnd.openxmlformats-officedocument.drawingml.chart+xml"/>
  <Override PartName="/ppt/tags/tag307.xml" ContentType="application/vnd.openxmlformats-officedocument.presentationml.tags+xml"/>
  <Override PartName="/ppt/notesSlides/notesSlide50.xml" ContentType="application/vnd.openxmlformats-officedocument.presentationml.notesSlide+xml"/>
  <Override PartName="/ppt/charts/chart250.xml" ContentType="application/vnd.openxmlformats-officedocument.drawingml.chart+xml"/>
  <Override PartName="/ppt/tags/tag308.xml" ContentType="application/vnd.openxmlformats-officedocument.presentationml.tags+xml"/>
  <Override PartName="/ppt/notesSlides/notesSlide51.xml" ContentType="application/vnd.openxmlformats-officedocument.presentationml.notesSlide+xml"/>
  <Override PartName="/ppt/charts/chart251.xml" ContentType="application/vnd.openxmlformats-officedocument.drawingml.chart+xml"/>
  <Override PartName="/ppt/tags/tag309.xml" ContentType="application/vnd.openxmlformats-officedocument.presentationml.tags+xml"/>
  <Override PartName="/ppt/charts/chart252.xml" ContentType="application/vnd.openxmlformats-officedocument.drawingml.chart+xml"/>
  <Override PartName="/ppt/tags/tag310.xml" ContentType="application/vnd.openxmlformats-officedocument.presentationml.tags+xml"/>
  <Override PartName="/ppt/charts/chart253.xml" ContentType="application/vnd.openxmlformats-officedocument.drawingml.chart+xml"/>
  <Override PartName="/ppt/tags/tag311.xml" ContentType="application/vnd.openxmlformats-officedocument.presentationml.tags+xml"/>
  <Override PartName="/ppt/charts/chart254.xml" ContentType="application/vnd.openxmlformats-officedocument.drawingml.chart+xml"/>
  <Override PartName="/ppt/tags/tag312.xml" ContentType="application/vnd.openxmlformats-officedocument.presentationml.tags+xml"/>
  <Override PartName="/ppt/charts/chart255.xml" ContentType="application/vnd.openxmlformats-officedocument.drawingml.chart+xml"/>
  <Override PartName="/ppt/tags/tag313.xml" ContentType="application/vnd.openxmlformats-officedocument.presentationml.tags+xml"/>
  <Override PartName="/ppt/charts/chart256.xml" ContentType="application/vnd.openxmlformats-officedocument.drawingml.chart+xml"/>
  <Override PartName="/ppt/tags/tag314.xml" ContentType="application/vnd.openxmlformats-officedocument.presentationml.tags+xml"/>
  <Override PartName="/ppt/charts/chart257.xml" ContentType="application/vnd.openxmlformats-officedocument.drawingml.chart+xml"/>
  <Override PartName="/ppt/tags/tag315.xml" ContentType="application/vnd.openxmlformats-officedocument.presentationml.tags+xml"/>
  <Override PartName="/ppt/charts/chart258.xml" ContentType="application/vnd.openxmlformats-officedocument.drawingml.chart+xml"/>
  <Override PartName="/ppt/tags/tag316.xml" ContentType="application/vnd.openxmlformats-officedocument.presentationml.tags+xml"/>
  <Override PartName="/ppt/charts/chart259.xml" ContentType="application/vnd.openxmlformats-officedocument.drawingml.chart+xml"/>
  <Override PartName="/ppt/tags/tag317.xml" ContentType="application/vnd.openxmlformats-officedocument.presentationml.tags+xml"/>
  <Override PartName="/ppt/charts/chart260.xml" ContentType="application/vnd.openxmlformats-officedocument.drawingml.chart+xml"/>
  <Override PartName="/ppt/tags/tag318.xml" ContentType="application/vnd.openxmlformats-officedocument.presentationml.tags+xml"/>
  <Override PartName="/ppt/charts/chart261.xml" ContentType="application/vnd.openxmlformats-officedocument.drawingml.chart+xml"/>
  <Override PartName="/ppt/tags/tag319.xml" ContentType="application/vnd.openxmlformats-officedocument.presentationml.tags+xml"/>
  <Override PartName="/ppt/charts/chart262.xml" ContentType="application/vnd.openxmlformats-officedocument.drawingml.chart+xml"/>
  <Override PartName="/ppt/tags/tag320.xml" ContentType="application/vnd.openxmlformats-officedocument.presentationml.tags+xml"/>
  <Override PartName="/ppt/charts/chart263.xml" ContentType="application/vnd.openxmlformats-officedocument.drawingml.chart+xml"/>
  <Override PartName="/ppt/tags/tag321.xml" ContentType="application/vnd.openxmlformats-officedocument.presentationml.tags+xml"/>
  <Override PartName="/ppt/charts/chart264.xml" ContentType="application/vnd.openxmlformats-officedocument.drawingml.chart+xml"/>
  <Override PartName="/ppt/tags/tag322.xml" ContentType="application/vnd.openxmlformats-officedocument.presentationml.tags+xml"/>
  <Override PartName="/ppt/charts/chart265.xml" ContentType="application/vnd.openxmlformats-officedocument.drawingml.chart+xml"/>
  <Override PartName="/ppt/tags/tag323.xml" ContentType="application/vnd.openxmlformats-officedocument.presentationml.tags+xml"/>
  <Override PartName="/ppt/charts/chart266.xml" ContentType="application/vnd.openxmlformats-officedocument.drawingml.chart+xml"/>
  <Override PartName="/ppt/tags/tag324.xml" ContentType="application/vnd.openxmlformats-officedocument.presentationml.tags+xml"/>
  <Override PartName="/ppt/charts/chart267.xml" ContentType="application/vnd.openxmlformats-officedocument.drawingml.chart+xml"/>
  <Override PartName="/ppt/tags/tag325.xml" ContentType="application/vnd.openxmlformats-officedocument.presentationml.tags+xml"/>
  <Override PartName="/ppt/charts/chart268.xml" ContentType="application/vnd.openxmlformats-officedocument.drawingml.chart+xml"/>
  <Override PartName="/ppt/tags/tag326.xml" ContentType="application/vnd.openxmlformats-officedocument.presentationml.tags+xml"/>
  <Override PartName="/ppt/charts/chart269.xml" ContentType="application/vnd.openxmlformats-officedocument.drawingml.chart+xml"/>
  <Override PartName="/ppt/tags/tag327.xml" ContentType="application/vnd.openxmlformats-officedocument.presentationml.tags+xml"/>
  <Override PartName="/ppt/charts/chart270.xml" ContentType="application/vnd.openxmlformats-officedocument.drawingml.chart+xml"/>
  <Override PartName="/ppt/tags/tag328.xml" ContentType="application/vnd.openxmlformats-officedocument.presentationml.tags+xml"/>
  <Override PartName="/ppt/charts/chart271.xml" ContentType="application/vnd.openxmlformats-officedocument.drawingml.chart+xml"/>
  <Override PartName="/ppt/tags/tag329.xml" ContentType="application/vnd.openxmlformats-officedocument.presentationml.tags+xml"/>
  <Override PartName="/ppt/charts/chart272.xml" ContentType="application/vnd.openxmlformats-officedocument.drawingml.chart+xml"/>
  <Override PartName="/ppt/tags/tag330.xml" ContentType="application/vnd.openxmlformats-officedocument.presentationml.tags+xml"/>
  <Override PartName="/ppt/charts/chart273.xml" ContentType="application/vnd.openxmlformats-officedocument.drawingml.chart+xml"/>
  <Override PartName="/ppt/tags/tag331.xml" ContentType="application/vnd.openxmlformats-officedocument.presentationml.tags+xml"/>
  <Override PartName="/ppt/charts/chart274.xml" ContentType="application/vnd.openxmlformats-officedocument.drawingml.chart+xml"/>
  <Override PartName="/ppt/tags/tag332.xml" ContentType="application/vnd.openxmlformats-officedocument.presentationml.tags+xml"/>
  <Override PartName="/ppt/charts/chart275.xml" ContentType="application/vnd.openxmlformats-officedocument.drawingml.chart+xml"/>
  <Override PartName="/ppt/tags/tag333.xml" ContentType="application/vnd.openxmlformats-officedocument.presentationml.tags+xml"/>
  <Override PartName="/ppt/charts/chart276.xml" ContentType="application/vnd.openxmlformats-officedocument.drawingml.chart+xml"/>
  <Override PartName="/ppt/tags/tag334.xml" ContentType="application/vnd.openxmlformats-officedocument.presentationml.tags+xml"/>
  <Override PartName="/ppt/charts/chart277.xml" ContentType="application/vnd.openxmlformats-officedocument.drawingml.chart+xml"/>
  <Override PartName="/ppt/tags/tag335.xml" ContentType="application/vnd.openxmlformats-officedocument.presentationml.tags+xml"/>
  <Override PartName="/ppt/charts/chart278.xml" ContentType="application/vnd.openxmlformats-officedocument.drawingml.chart+xml"/>
  <Override PartName="/ppt/tags/tag336.xml" ContentType="application/vnd.openxmlformats-officedocument.presentationml.tags+xml"/>
  <Override PartName="/ppt/charts/chart279.xml" ContentType="application/vnd.openxmlformats-officedocument.drawingml.chart+xml"/>
  <Override PartName="/ppt/tags/tag337.xml" ContentType="application/vnd.openxmlformats-officedocument.presentationml.tags+xml"/>
  <Override PartName="/ppt/charts/chart280.xml" ContentType="application/vnd.openxmlformats-officedocument.drawingml.chart+xml"/>
  <Override PartName="/ppt/tags/tag338.xml" ContentType="application/vnd.openxmlformats-officedocument.presentationml.tags+xml"/>
  <Override PartName="/ppt/charts/chart281.xml" ContentType="application/vnd.openxmlformats-officedocument.drawingml.chart+xml"/>
  <Override PartName="/ppt/tags/tag339.xml" ContentType="application/vnd.openxmlformats-officedocument.presentationml.tags+xml"/>
  <Override PartName="/ppt/charts/chart282.xml" ContentType="application/vnd.openxmlformats-officedocument.drawingml.chart+xml"/>
  <Override PartName="/ppt/tags/tag340.xml" ContentType="application/vnd.openxmlformats-officedocument.presentationml.tags+xml"/>
  <Override PartName="/ppt/charts/chart283.xml" ContentType="application/vnd.openxmlformats-officedocument.drawingml.chart+xml"/>
  <Override PartName="/ppt/tags/tag341.xml" ContentType="application/vnd.openxmlformats-officedocument.presentationml.tags+xml"/>
  <Override PartName="/ppt/charts/chart284.xml" ContentType="application/vnd.openxmlformats-officedocument.drawingml.chart+xml"/>
  <Override PartName="/ppt/tags/tag342.xml" ContentType="application/vnd.openxmlformats-officedocument.presentationml.tags+xml"/>
  <Override PartName="/ppt/charts/chart285.xml" ContentType="application/vnd.openxmlformats-officedocument.drawingml.chart+xml"/>
  <Override PartName="/ppt/tags/tag343.xml" ContentType="application/vnd.openxmlformats-officedocument.presentationml.tags+xml"/>
  <Override PartName="/ppt/charts/chart286.xml" ContentType="application/vnd.openxmlformats-officedocument.drawingml.chart+xml"/>
  <Override PartName="/ppt/tags/tag344.xml" ContentType="application/vnd.openxmlformats-officedocument.presentationml.tags+xml"/>
  <Override PartName="/ppt/charts/chart287.xml" ContentType="application/vnd.openxmlformats-officedocument.drawingml.chart+xml"/>
  <Override PartName="/ppt/tags/tag345.xml" ContentType="application/vnd.openxmlformats-officedocument.presentationml.tags+xml"/>
  <Override PartName="/ppt/charts/chart288.xml" ContentType="application/vnd.openxmlformats-officedocument.drawingml.chart+xml"/>
  <Override PartName="/ppt/tags/tag346.xml" ContentType="application/vnd.openxmlformats-officedocument.presentationml.tags+xml"/>
  <Override PartName="/ppt/charts/chart289.xml" ContentType="application/vnd.openxmlformats-officedocument.drawingml.chart+xml"/>
  <Override PartName="/ppt/tags/tag347.xml" ContentType="application/vnd.openxmlformats-officedocument.presentationml.tags+xml"/>
  <Override PartName="/ppt/charts/chart290.xml" ContentType="application/vnd.openxmlformats-officedocument.drawingml.chart+xml"/>
  <Override PartName="/ppt/tags/tag348.xml" ContentType="application/vnd.openxmlformats-officedocument.presentationml.tags+xml"/>
  <Override PartName="/ppt/charts/chart291.xml" ContentType="application/vnd.openxmlformats-officedocument.drawingml.chart+xml"/>
  <Override PartName="/ppt/tags/tag349.xml" ContentType="application/vnd.openxmlformats-officedocument.presentationml.tags+xml"/>
  <Override PartName="/ppt/charts/chart292.xml" ContentType="application/vnd.openxmlformats-officedocument.drawingml.chart+xml"/>
  <Override PartName="/ppt/tags/tag350.xml" ContentType="application/vnd.openxmlformats-officedocument.presentationml.tags+xml"/>
  <Override PartName="/ppt/charts/chart293.xml" ContentType="application/vnd.openxmlformats-officedocument.drawingml.chart+xml"/>
  <Override PartName="/ppt/tags/tag351.xml" ContentType="application/vnd.openxmlformats-officedocument.presentationml.tags+xml"/>
  <Override PartName="/ppt/charts/chart294.xml" ContentType="application/vnd.openxmlformats-officedocument.drawingml.chart+xml"/>
  <Override PartName="/ppt/tags/tag352.xml" ContentType="application/vnd.openxmlformats-officedocument.presentationml.tags+xml"/>
  <Override PartName="/ppt/charts/chart295.xml" ContentType="application/vnd.openxmlformats-officedocument.drawingml.chart+xml"/>
  <Override PartName="/ppt/tags/tag353.xml" ContentType="application/vnd.openxmlformats-officedocument.presentationml.tags+xml"/>
  <Override PartName="/ppt/charts/chart296.xml" ContentType="application/vnd.openxmlformats-officedocument.drawingml.chart+xml"/>
  <Override PartName="/ppt/tags/tag354.xml" ContentType="application/vnd.openxmlformats-officedocument.presentationml.tags+xml"/>
  <Override PartName="/ppt/charts/chart297.xml" ContentType="application/vnd.openxmlformats-officedocument.drawingml.chart+xml"/>
  <Override PartName="/ppt/tags/tag355.xml" ContentType="application/vnd.openxmlformats-officedocument.presentationml.tags+xml"/>
  <Override PartName="/ppt/charts/chart298.xml" ContentType="application/vnd.openxmlformats-officedocument.drawingml.chart+xml"/>
  <Override PartName="/ppt/tags/tag356.xml" ContentType="application/vnd.openxmlformats-officedocument.presentationml.tags+xml"/>
  <Override PartName="/ppt/charts/chart299.xml" ContentType="application/vnd.openxmlformats-officedocument.drawingml.chart+xml"/>
  <Override PartName="/ppt/tags/tag357.xml" ContentType="application/vnd.openxmlformats-officedocument.presentationml.tags+xml"/>
  <Override PartName="/ppt/charts/chart300.xml" ContentType="application/vnd.openxmlformats-officedocument.drawingml.chart+xml"/>
  <Override PartName="/ppt/tags/tag358.xml" ContentType="application/vnd.openxmlformats-officedocument.presentationml.tags+xml"/>
  <Override PartName="/ppt/charts/chart301.xml" ContentType="application/vnd.openxmlformats-officedocument.drawingml.chart+xml"/>
  <Override PartName="/ppt/tags/tag359.xml" ContentType="application/vnd.openxmlformats-officedocument.presentationml.tags+xml"/>
  <Override PartName="/ppt/charts/chart302.xml" ContentType="application/vnd.openxmlformats-officedocument.drawingml.chart+xml"/>
  <Override PartName="/ppt/tags/tag360.xml" ContentType="application/vnd.openxmlformats-officedocument.presentationml.tags+xml"/>
  <Override PartName="/ppt/notesSlides/notesSlide52.xml" ContentType="application/vnd.openxmlformats-officedocument.presentationml.notesSlide+xml"/>
  <Override PartName="/ppt/tags/tag361.xml" ContentType="application/vnd.openxmlformats-officedocument.presentationml.tags+xml"/>
  <Override PartName="/ppt/notesSlides/notesSlide53.xml" ContentType="application/vnd.openxmlformats-officedocument.presentationml.notesSlide+xml"/>
  <Override PartName="/ppt/tags/tag362.xml" ContentType="application/vnd.openxmlformats-officedocument.presentationml.tags+xml"/>
  <Override PartName="/ppt/notesSlides/notesSlide54.xml" ContentType="application/vnd.openxmlformats-officedocument.presentationml.notesSlide+xml"/>
  <Override PartName="/ppt/tags/tag363.xml" ContentType="application/vnd.openxmlformats-officedocument.presentationml.tags+xml"/>
  <Override PartName="/ppt/notesSlides/notesSlide55.xml" ContentType="application/vnd.openxmlformats-officedocument.presentationml.notesSlide+xml"/>
  <Override PartName="/ppt/tags/tag364.xml" ContentType="application/vnd.openxmlformats-officedocument.presentationml.tags+xml"/>
  <Override PartName="/ppt/notesSlides/notesSlide56.xml" ContentType="application/vnd.openxmlformats-officedocument.presentationml.notesSlide+xml"/>
  <Override PartName="/ppt/tags/tag365.xml" ContentType="application/vnd.openxmlformats-officedocument.presentationml.tags+xml"/>
  <Override PartName="/ppt/notesSlides/notesSlide57.xml" ContentType="application/vnd.openxmlformats-officedocument.presentationml.notesSlide+xml"/>
  <Override PartName="/ppt/tags/tag366.xml" ContentType="application/vnd.openxmlformats-officedocument.presentationml.tags+xml"/>
  <Override PartName="/ppt/notesSlides/notesSlide58.xml" ContentType="application/vnd.openxmlformats-officedocument.presentationml.notesSlide+xml"/>
  <Override PartName="/ppt/tags/tag367.xml" ContentType="application/vnd.openxmlformats-officedocument.presentationml.tags+xml"/>
  <Override PartName="/ppt/notesSlides/notesSlide59.xml" ContentType="application/vnd.openxmlformats-officedocument.presentationml.notesSlide+xml"/>
  <Override PartName="/ppt/tags/tag368.xml" ContentType="application/vnd.openxmlformats-officedocument.presentationml.tags+xml"/>
  <Override PartName="/ppt/notesSlides/notesSlide60.xml" ContentType="application/vnd.openxmlformats-officedocument.presentationml.notesSlide+xml"/>
  <Override PartName="/ppt/tags/tag369.xml" ContentType="application/vnd.openxmlformats-officedocument.presentationml.tags+xml"/>
  <Override PartName="/ppt/notesSlides/notesSlide61.xml" ContentType="application/vnd.openxmlformats-officedocument.presentationml.notesSlide+xml"/>
  <Override PartName="/ppt/tags/tag370.xml" ContentType="application/vnd.openxmlformats-officedocument.presentationml.tags+xml"/>
  <Override PartName="/ppt/notesSlides/notesSlide62.xml" ContentType="application/vnd.openxmlformats-officedocument.presentationml.notesSlide+xml"/>
  <Override PartName="/ppt/tags/tag371.xml" ContentType="application/vnd.openxmlformats-officedocument.presentationml.tags+xml"/>
  <Override PartName="/ppt/notesSlides/notesSlide63.xml" ContentType="application/vnd.openxmlformats-officedocument.presentationml.notesSlide+xml"/>
  <Override PartName="/ppt/tags/tag372.xml" ContentType="application/vnd.openxmlformats-officedocument.presentationml.tags+xml"/>
  <Override PartName="/ppt/notesSlides/notesSlide64.xml" ContentType="application/vnd.openxmlformats-officedocument.presentationml.notesSlide+xml"/>
  <Override PartName="/ppt/tags/tag373.xml" ContentType="application/vnd.openxmlformats-officedocument.presentationml.tags+xml"/>
  <Override PartName="/ppt/notesSlides/notesSlide65.xml" ContentType="application/vnd.openxmlformats-officedocument.presentationml.notesSlide+xml"/>
  <Override PartName="/ppt/tags/tag374.xml" ContentType="application/vnd.openxmlformats-officedocument.presentationml.tags+xml"/>
  <Override PartName="/ppt/notesSlides/notesSlide66.xml" ContentType="application/vnd.openxmlformats-officedocument.presentationml.notesSlide+xml"/>
  <Override PartName="/ppt/tags/tag375.xml" ContentType="application/vnd.openxmlformats-officedocument.presentationml.tags+xml"/>
  <Override PartName="/ppt/notesSlides/notesSlide67.xml" ContentType="application/vnd.openxmlformats-officedocument.presentationml.notesSlide+xml"/>
  <Override PartName="/ppt/tags/tag376.xml" ContentType="application/vnd.openxmlformats-officedocument.presentationml.tags+xml"/>
  <Override PartName="/ppt/notesSlides/notesSlide68.xml" ContentType="application/vnd.openxmlformats-officedocument.presentationml.notesSlide+xml"/>
  <Override PartName="/ppt/tags/tag377.xml" ContentType="application/vnd.openxmlformats-officedocument.presentationml.tags+xml"/>
  <Override PartName="/ppt/notesSlides/notesSlide69.xml" ContentType="application/vnd.openxmlformats-officedocument.presentationml.notesSlide+xml"/>
  <Override PartName="/ppt/tags/tag378.xml" ContentType="application/vnd.openxmlformats-officedocument.presentationml.tags+xml"/>
  <Override PartName="/ppt/notesSlides/notesSlide70.xml" ContentType="application/vnd.openxmlformats-officedocument.presentationml.notesSlide+xml"/>
  <Override PartName="/ppt/tags/tag379.xml" ContentType="application/vnd.openxmlformats-officedocument.presentationml.tags+xml"/>
  <Override PartName="/ppt/notesSlides/notesSlide71.xml" ContentType="application/vnd.openxmlformats-officedocument.presentationml.notesSlide+xml"/>
  <Override PartName="/ppt/tags/tag380.xml" ContentType="application/vnd.openxmlformats-officedocument.presentationml.tags+xml"/>
  <Override PartName="/ppt/notesSlides/notesSlide72.xml" ContentType="application/vnd.openxmlformats-officedocument.presentationml.notesSlide+xml"/>
  <Override PartName="/ppt/tags/tag381.xml" ContentType="application/vnd.openxmlformats-officedocument.presentationml.tags+xml"/>
  <Override PartName="/ppt/notesSlides/notesSlide73.xml" ContentType="application/vnd.openxmlformats-officedocument.presentationml.notesSlide+xml"/>
  <Override PartName="/ppt/tags/tag382.xml" ContentType="application/vnd.openxmlformats-officedocument.presentationml.tags+xml"/>
  <Override PartName="/ppt/notesSlides/notesSlide74.xml" ContentType="application/vnd.openxmlformats-officedocument.presentationml.notesSlide+xml"/>
  <Override PartName="/ppt/tags/tag383.xml" ContentType="application/vnd.openxmlformats-officedocument.presentationml.tags+xml"/>
  <Override PartName="/ppt/notesSlides/notesSlide75.xml" ContentType="application/vnd.openxmlformats-officedocument.presentationml.notesSlide+xml"/>
  <Override PartName="/ppt/tags/tag384.xml" ContentType="application/vnd.openxmlformats-officedocument.presentationml.tags+xml"/>
  <Override PartName="/ppt/notesSlides/notesSlide76.xml" ContentType="application/vnd.openxmlformats-officedocument.presentationml.notesSlide+xml"/>
  <Override PartName="/ppt/tags/tag385.xml" ContentType="application/vnd.openxmlformats-officedocument.presentationml.tags+xml"/>
  <Override PartName="/ppt/notesSlides/notesSlide77.xml" ContentType="application/vnd.openxmlformats-officedocument.presentationml.notesSlide+xml"/>
  <Override PartName="/ppt/tags/tag386.xml" ContentType="application/vnd.openxmlformats-officedocument.presentationml.tags+xml"/>
  <Override PartName="/ppt/notesSlides/notesSlide78.xml" ContentType="application/vnd.openxmlformats-officedocument.presentationml.notesSlide+xml"/>
  <Override PartName="/ppt/tags/tag387.xml" ContentType="application/vnd.openxmlformats-officedocument.presentationml.tags+xml"/>
  <Override PartName="/ppt/notesSlides/notesSlide79.xml" ContentType="application/vnd.openxmlformats-officedocument.presentationml.notesSlide+xml"/>
  <Override PartName="/ppt/tags/tag388.xml" ContentType="application/vnd.openxmlformats-officedocument.presentationml.tags+xml"/>
  <Override PartName="/ppt/notesSlides/notesSlide80.xml" ContentType="application/vnd.openxmlformats-officedocument.presentationml.notesSlide+xml"/>
  <Override PartName="/ppt/tags/tag389.xml" ContentType="application/vnd.openxmlformats-officedocument.presentationml.tags+xml"/>
  <Override PartName="/ppt/notesSlides/notesSlide81.xml" ContentType="application/vnd.openxmlformats-officedocument.presentationml.notesSlide+xml"/>
  <Override PartName="/ppt/tags/tag390.xml" ContentType="application/vnd.openxmlformats-officedocument.presentationml.tags+xml"/>
  <Override PartName="/ppt/notesSlides/notesSlide82.xml" ContentType="application/vnd.openxmlformats-officedocument.presentationml.notesSlide+xml"/>
  <Override PartName="/ppt/tags/tag391.xml" ContentType="application/vnd.openxmlformats-officedocument.presentationml.tags+xml"/>
  <Override PartName="/ppt/notesSlides/notesSlide83.xml" ContentType="application/vnd.openxmlformats-officedocument.presentationml.notesSlide+xml"/>
  <Override PartName="/ppt/tags/tag392.xml" ContentType="application/vnd.openxmlformats-officedocument.presentationml.tags+xml"/>
  <Override PartName="/ppt/notesSlides/notesSlide84.xml" ContentType="application/vnd.openxmlformats-officedocument.presentationml.notesSlide+xml"/>
  <Override PartName="/ppt/tags/tag393.xml" ContentType="application/vnd.openxmlformats-officedocument.presentationml.tags+xml"/>
  <Override PartName="/ppt/notesSlides/notesSlide85.xml" ContentType="application/vnd.openxmlformats-officedocument.presentationml.notesSlide+xml"/>
  <Override PartName="/ppt/tags/tag394.xml" ContentType="application/vnd.openxmlformats-officedocument.presentationml.tags+xml"/>
  <Override PartName="/ppt/charts/chart303.xml" ContentType="application/vnd.openxmlformats-officedocument.drawingml.chart+xml"/>
  <Override PartName="/ppt/tags/tag395.xml" ContentType="application/vnd.openxmlformats-officedocument.presentationml.tags+xml"/>
  <Override PartName="/ppt/charts/chart304.xml" ContentType="application/vnd.openxmlformats-officedocument.drawingml.chart+xml"/>
  <Override PartName="/ppt/tags/tag396.xml" ContentType="application/vnd.openxmlformats-officedocument.presentationml.tags+xml"/>
  <Override PartName="/ppt/charts/chart305.xml" ContentType="application/vnd.openxmlformats-officedocument.drawingml.chart+xml"/>
  <Override PartName="/ppt/tags/tag397.xml" ContentType="application/vnd.openxmlformats-officedocument.presentationml.tags+xml"/>
  <Override PartName="/ppt/charts/chart306.xml" ContentType="application/vnd.openxmlformats-officedocument.drawingml.chart+xml"/>
  <Override PartName="/ppt/tags/tag398.xml" ContentType="application/vnd.openxmlformats-officedocument.presentationml.tags+xml"/>
  <Override PartName="/ppt/charts/chart307.xml" ContentType="application/vnd.openxmlformats-officedocument.drawingml.chart+xml"/>
  <Override PartName="/ppt/tags/tag399.xml" ContentType="application/vnd.openxmlformats-officedocument.presentationml.tags+xml"/>
  <Override PartName="/ppt/charts/chart308.xml" ContentType="application/vnd.openxmlformats-officedocument.drawingml.chart+xml"/>
  <Override PartName="/ppt/tags/tag400.xml" ContentType="application/vnd.openxmlformats-officedocument.presentationml.tags+xml"/>
  <Override PartName="/ppt/charts/chart309.xml" ContentType="application/vnd.openxmlformats-officedocument.drawingml.chart+xml"/>
  <Override PartName="/ppt/tags/tag401.xml" ContentType="application/vnd.openxmlformats-officedocument.presentationml.tags+xml"/>
  <Override PartName="/ppt/charts/chart310.xml" ContentType="application/vnd.openxmlformats-officedocument.drawingml.chart+xml"/>
  <Override PartName="/ppt/tags/tag402.xml" ContentType="application/vnd.openxmlformats-officedocument.presentationml.tags+xml"/>
  <Override PartName="/ppt/charts/chart311.xml" ContentType="application/vnd.openxmlformats-officedocument.drawingml.chart+xml"/>
  <Override PartName="/ppt/tags/tag403.xml" ContentType="application/vnd.openxmlformats-officedocument.presentationml.tags+xml"/>
  <Override PartName="/ppt/charts/chart312.xml" ContentType="application/vnd.openxmlformats-officedocument.drawingml.chart+xml"/>
  <Override PartName="/ppt/tags/tag404.xml" ContentType="application/vnd.openxmlformats-officedocument.presentationml.tags+xml"/>
  <Override PartName="/ppt/charts/chart313.xml" ContentType="application/vnd.openxmlformats-officedocument.drawingml.chart+xml"/>
  <Override PartName="/ppt/tags/tag405.xml" ContentType="application/vnd.openxmlformats-officedocument.presentationml.tags+xml"/>
  <Override PartName="/ppt/charts/chart314.xml" ContentType="application/vnd.openxmlformats-officedocument.drawingml.chart+xml"/>
  <Override PartName="/ppt/tags/tag406.xml" ContentType="application/vnd.openxmlformats-officedocument.presentationml.tags+xml"/>
  <Override PartName="/ppt/charts/chart315.xml" ContentType="application/vnd.openxmlformats-officedocument.drawingml.chart+xml"/>
  <Override PartName="/ppt/tags/tag407.xml" ContentType="application/vnd.openxmlformats-officedocument.presentationml.tags+xml"/>
  <Override PartName="/ppt/charts/chart316.xml" ContentType="application/vnd.openxmlformats-officedocument.drawingml.chart+xml"/>
  <Override PartName="/ppt/tags/tag408.xml" ContentType="application/vnd.openxmlformats-officedocument.presentationml.tags+xml"/>
  <Override PartName="/ppt/charts/chart317.xml" ContentType="application/vnd.openxmlformats-officedocument.drawingml.chart+xml"/>
  <Override PartName="/ppt/tags/tag409.xml" ContentType="application/vnd.openxmlformats-officedocument.presentationml.tags+xml"/>
  <Override PartName="/ppt/charts/chart318.xml" ContentType="application/vnd.openxmlformats-officedocument.drawingml.chart+xml"/>
  <Override PartName="/ppt/tags/tag410.xml" ContentType="application/vnd.openxmlformats-officedocument.presentationml.tags+xml"/>
  <Override PartName="/ppt/charts/chart319.xml" ContentType="application/vnd.openxmlformats-officedocument.drawingml.chart+xml"/>
  <Override PartName="/ppt/tags/tag411.xml" ContentType="application/vnd.openxmlformats-officedocument.presentationml.tags+xml"/>
  <Override PartName="/ppt/charts/chart320.xml" ContentType="application/vnd.openxmlformats-officedocument.drawingml.chart+xml"/>
  <Override PartName="/ppt/tags/tag412.xml" ContentType="application/vnd.openxmlformats-officedocument.presentationml.tags+xml"/>
  <Override PartName="/ppt/charts/chart321.xml" ContentType="application/vnd.openxmlformats-officedocument.drawingml.chart+xml"/>
  <Override PartName="/ppt/tags/tag413.xml" ContentType="application/vnd.openxmlformats-officedocument.presentationml.tags+xml"/>
  <Override PartName="/ppt/charts/chart322.xml" ContentType="application/vnd.openxmlformats-officedocument.drawingml.chart+xml"/>
  <Override PartName="/ppt/tags/tag414.xml" ContentType="application/vnd.openxmlformats-officedocument.presentationml.tags+xml"/>
  <Override PartName="/ppt/charts/chart323.xml" ContentType="application/vnd.openxmlformats-officedocument.drawingml.chart+xml"/>
  <Override PartName="/ppt/tags/tag415.xml" ContentType="application/vnd.openxmlformats-officedocument.presentationml.tags+xml"/>
  <Override PartName="/ppt/charts/chart324.xml" ContentType="application/vnd.openxmlformats-officedocument.drawingml.chart+xml"/>
  <Override PartName="/ppt/tags/tag416.xml" ContentType="application/vnd.openxmlformats-officedocument.presentationml.tags+xml"/>
  <Override PartName="/ppt/charts/chart325.xml" ContentType="application/vnd.openxmlformats-officedocument.drawingml.chart+xml"/>
  <Override PartName="/ppt/tags/tag417.xml" ContentType="application/vnd.openxmlformats-officedocument.presentationml.tags+xml"/>
  <Override PartName="/ppt/charts/chart326.xml" ContentType="application/vnd.openxmlformats-officedocument.drawingml.chart+xml"/>
  <Override PartName="/ppt/tags/tag418.xml" ContentType="application/vnd.openxmlformats-officedocument.presentationml.tags+xml"/>
  <Override PartName="/ppt/charts/chart327.xml" ContentType="application/vnd.openxmlformats-officedocument.drawingml.chart+xml"/>
  <Override PartName="/ppt/tags/tag419.xml" ContentType="application/vnd.openxmlformats-officedocument.presentationml.tags+xml"/>
  <Override PartName="/ppt/charts/chart328.xml" ContentType="application/vnd.openxmlformats-officedocument.drawingml.chart+xml"/>
  <Override PartName="/ppt/tags/tag420.xml" ContentType="application/vnd.openxmlformats-officedocument.presentationml.tags+xml"/>
  <Override PartName="/ppt/charts/chart329.xml" ContentType="application/vnd.openxmlformats-officedocument.drawingml.chart+xml"/>
  <Override PartName="/ppt/tags/tag421.xml" ContentType="application/vnd.openxmlformats-officedocument.presentationml.tags+xml"/>
  <Override PartName="/ppt/charts/chart330.xml" ContentType="application/vnd.openxmlformats-officedocument.drawingml.chart+xml"/>
  <Override PartName="/ppt/tags/tag422.xml" ContentType="application/vnd.openxmlformats-officedocument.presentationml.tags+xml"/>
  <Override PartName="/ppt/charts/chart331.xml" ContentType="application/vnd.openxmlformats-officedocument.drawingml.chart+xml"/>
  <Override PartName="/ppt/tags/tag423.xml" ContentType="application/vnd.openxmlformats-officedocument.presentationml.tags+xml"/>
  <Override PartName="/ppt/charts/chart33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401"/>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2A9E1D75-A51E-4652-99A7-262EDE36608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SKU Share by Manuf" id="{68F4095B-1DD3-4FFE-AAF6-E4E73E7B7302}">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Cumulative Product Shares" id="{79118074-71EA-4E49-AD57-8B4636FD957C}">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Lst>
        </p14:section>
        <p14:section name="Top 50% cumulative share" id="{3DD78CF0-7918-4D97-8424-C67DBFE58852}">
          <p14:sldIdLst>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Lst>
        </p14:section>
        <p14:section name="Brand Cumulative Product Share" id="{4AB606A6-DEF9-4ECC-B906-230F09B17E22}">
          <p14:sldIdLst>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Lst>
        </p14:section>
        <p14:section name="Top 20 cumulative share" id="{AB7F7EA2-ACB4-4B48-B1D0-988252735920}">
          <p14:sldIdLst>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Lst>
        </p14:section>
        <p14:section name="SKU Productivity Analysis with TM%" id="{37FFC241-83CF-40A9-9FC0-532EB8E98F27}">
          <p14:sldIdLst>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Lst>
        </p14:section>
        <p14:section name="SKU Productivity Analysis with WD" id="{1D6798A6-FBE0-4775-B3E1-21E11E8F8941}">
          <p14:sldIdLst>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Lst>
        </p14:section>
        <p14:section name="Sectors Fair Share" id="{C23FB82A-0B01-492F-8955-3C61F6FEA47F}">
          <p14:sldIdLst>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Lst>
        </p14:section>
        <p14:section name="Segments Fair Share" id="{96536782-904D-47C3-BE10-0E72D7CAA3B0}">
          <p14:sldIdLst>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Lst>
        </p14:section>
        <p14:section name="SKU Share By Brand no client prio" id="{2702327F-DA21-4BD8-97DB-F03EE4B7645D}">
          <p14:sldIdLst>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5" d="100"/>
          <a:sy n="85" d="100"/>
        </p:scale>
        <p:origin x="966" y="84"/>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slide" Target="slides/slide295.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openxmlformats.org/officeDocument/2006/relationships/slide" Target="slides/slide320.xml"/><Relationship Id="rId366" Type="http://schemas.openxmlformats.org/officeDocument/2006/relationships/slide" Target="slides/slide362.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335" Type="http://schemas.openxmlformats.org/officeDocument/2006/relationships/slide" Target="slides/slide331.xml"/><Relationship Id="rId377" Type="http://schemas.openxmlformats.org/officeDocument/2006/relationships/slide" Target="slides/slide373.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402" Type="http://schemas.openxmlformats.org/officeDocument/2006/relationships/presProps" Target="presProps.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304" Type="http://schemas.openxmlformats.org/officeDocument/2006/relationships/slide" Target="slides/slide300.xml"/><Relationship Id="rId346" Type="http://schemas.openxmlformats.org/officeDocument/2006/relationships/slide" Target="slides/slide342.xml"/><Relationship Id="rId388" Type="http://schemas.openxmlformats.org/officeDocument/2006/relationships/slide" Target="slides/slide384.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357" Type="http://schemas.openxmlformats.org/officeDocument/2006/relationships/slide" Target="slides/slide353.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399" Type="http://schemas.openxmlformats.org/officeDocument/2006/relationships/slide" Target="slides/slide395.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326" Type="http://schemas.openxmlformats.org/officeDocument/2006/relationships/slide" Target="slides/slide322.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slide" Target="slides/slide277.xml"/><Relationship Id="rId337" Type="http://schemas.openxmlformats.org/officeDocument/2006/relationships/slide" Target="slides/slide333.xml"/><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7" Type="http://schemas.openxmlformats.org/officeDocument/2006/relationships/slide" Target="slides/slide3.xml"/><Relationship Id="rId183" Type="http://schemas.openxmlformats.org/officeDocument/2006/relationships/slide" Target="slides/slide179.xml"/><Relationship Id="rId239" Type="http://schemas.openxmlformats.org/officeDocument/2006/relationships/slide" Target="slides/slide235.xml"/><Relationship Id="rId390" Type="http://schemas.openxmlformats.org/officeDocument/2006/relationships/slide" Target="slides/slide386.xml"/><Relationship Id="rId404" Type="http://schemas.openxmlformats.org/officeDocument/2006/relationships/theme" Target="theme/theme1.xml"/><Relationship Id="rId250" Type="http://schemas.openxmlformats.org/officeDocument/2006/relationships/slide" Target="slides/slide246.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261" Type="http://schemas.openxmlformats.org/officeDocument/2006/relationships/slide" Target="slides/slide257.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230" Type="http://schemas.openxmlformats.org/officeDocument/2006/relationships/slide" Target="slides/slide226.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microsoft.com/office/2015/10/relationships/revisionInfo" Target="revisionInfo.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196" Type="http://schemas.openxmlformats.org/officeDocument/2006/relationships/slide" Target="slides/slide192.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165" Type="http://schemas.openxmlformats.org/officeDocument/2006/relationships/slide" Target="slides/slide161.xml"/><Relationship Id="rId372" Type="http://schemas.openxmlformats.org/officeDocument/2006/relationships/slide" Target="slides/slide368.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309" Type="http://schemas.openxmlformats.org/officeDocument/2006/relationships/slide" Target="slides/slide305.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slide" Target="slides/slide316.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341" Type="http://schemas.openxmlformats.org/officeDocument/2006/relationships/slide" Target="slides/slide337.xml"/><Relationship Id="rId362" Type="http://schemas.openxmlformats.org/officeDocument/2006/relationships/slide" Target="slides/slide358.xml"/><Relationship Id="rId383" Type="http://schemas.openxmlformats.org/officeDocument/2006/relationships/slide" Target="slides/slide379.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slide" Target="slides/slide306.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331" Type="http://schemas.openxmlformats.org/officeDocument/2006/relationships/slide" Target="slides/slide327.xml"/><Relationship Id="rId352" Type="http://schemas.openxmlformats.org/officeDocument/2006/relationships/slide" Target="slides/slide348.xml"/><Relationship Id="rId373" Type="http://schemas.openxmlformats.org/officeDocument/2006/relationships/slide" Target="slides/slide369.xml"/><Relationship Id="rId394" Type="http://schemas.openxmlformats.org/officeDocument/2006/relationships/slide" Target="slides/slide390.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slide" Target="slides/slide292.xml"/><Relationship Id="rId300" Type="http://schemas.openxmlformats.org/officeDocument/2006/relationships/slide" Target="slides/slide296.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slide" Target="slides/slide317.xml"/><Relationship Id="rId342" Type="http://schemas.openxmlformats.org/officeDocument/2006/relationships/slide" Target="slides/slide338.xml"/><Relationship Id="rId363" Type="http://schemas.openxmlformats.org/officeDocument/2006/relationships/slide" Target="slides/slide359.xml"/><Relationship Id="rId384" Type="http://schemas.openxmlformats.org/officeDocument/2006/relationships/slide" Target="slides/slide380.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slide" Target="slides/slide307.xml"/><Relationship Id="rId332" Type="http://schemas.openxmlformats.org/officeDocument/2006/relationships/slide" Target="slides/slide328.xml"/><Relationship Id="rId353" Type="http://schemas.openxmlformats.org/officeDocument/2006/relationships/slide" Target="slides/slide349.xml"/><Relationship Id="rId374" Type="http://schemas.openxmlformats.org/officeDocument/2006/relationships/slide" Target="slides/slide370.xml"/><Relationship Id="rId395" Type="http://schemas.openxmlformats.org/officeDocument/2006/relationships/slide" Target="slides/slide391.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slide" Target="slides/slide293.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slide" Target="slides/slide297.xml"/><Relationship Id="rId322" Type="http://schemas.openxmlformats.org/officeDocument/2006/relationships/slide" Target="slides/slide318.xml"/><Relationship Id="rId343" Type="http://schemas.openxmlformats.org/officeDocument/2006/relationships/slide" Target="slides/slide339.xml"/><Relationship Id="rId364" Type="http://schemas.openxmlformats.org/officeDocument/2006/relationships/slide" Target="slides/slide360.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385" Type="http://schemas.openxmlformats.org/officeDocument/2006/relationships/slide" Target="slides/slide381.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slide" Target="slides/slide308.xml"/><Relationship Id="rId333" Type="http://schemas.openxmlformats.org/officeDocument/2006/relationships/slide" Target="slides/slide329.xml"/><Relationship Id="rId354" Type="http://schemas.openxmlformats.org/officeDocument/2006/relationships/slide" Target="slides/slide350.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75" Type="http://schemas.openxmlformats.org/officeDocument/2006/relationships/slide" Target="slides/slide371.xml"/><Relationship Id="rId396" Type="http://schemas.openxmlformats.org/officeDocument/2006/relationships/slide" Target="slides/slide392.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slide" Target="slides/slide294.xml"/><Relationship Id="rId400" Type="http://schemas.openxmlformats.org/officeDocument/2006/relationships/slide" Target="slides/slide396.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slide" Target="slides/slide298.xml"/><Relationship Id="rId323" Type="http://schemas.openxmlformats.org/officeDocument/2006/relationships/slide" Target="slides/slide319.xml"/><Relationship Id="rId344" Type="http://schemas.openxmlformats.org/officeDocument/2006/relationships/slide" Target="slides/slide340.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365" Type="http://schemas.openxmlformats.org/officeDocument/2006/relationships/slide" Target="slides/slide361.xml"/><Relationship Id="rId386" Type="http://schemas.openxmlformats.org/officeDocument/2006/relationships/slide" Target="slides/slide382.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slide" Target="slides/slide309.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334" Type="http://schemas.openxmlformats.org/officeDocument/2006/relationships/slide" Target="slides/slide330.xml"/><Relationship Id="rId355" Type="http://schemas.openxmlformats.org/officeDocument/2006/relationships/slide" Target="slides/slide351.xml"/><Relationship Id="rId376" Type="http://schemas.openxmlformats.org/officeDocument/2006/relationships/slide" Target="slides/slide372.xml"/><Relationship Id="rId397" Type="http://schemas.openxmlformats.org/officeDocument/2006/relationships/slide" Target="slides/slide393.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01" Type="http://schemas.openxmlformats.org/officeDocument/2006/relationships/notesMaster" Target="notesMasters/notesMaster1.xml"/><Relationship Id="rId303" Type="http://schemas.openxmlformats.org/officeDocument/2006/relationships/slide" Target="slides/slide299.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viewProps" Target="viewProps.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162" Type="http://schemas.openxmlformats.org/officeDocument/2006/relationships/slide" Target="slides/slide158.xml"/><Relationship Id="rId218" Type="http://schemas.openxmlformats.org/officeDocument/2006/relationships/slide" Target="slides/slide214.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240" Type="http://schemas.openxmlformats.org/officeDocument/2006/relationships/slide" Target="slides/slide236.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tableStyles" Target="tableStyles.xml"/><Relationship Id="rId251" Type="http://schemas.openxmlformats.org/officeDocument/2006/relationships/slide" Target="slides/slide247.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220" Type="http://schemas.openxmlformats.org/officeDocument/2006/relationships/slide" Target="slides/slide216.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200" Type="http://schemas.openxmlformats.org/officeDocument/2006/relationships/slide" Target="slides/slide196.xml"/><Relationship Id="rId382" Type="http://schemas.openxmlformats.org/officeDocument/2006/relationships/slide" Target="slides/slide378.xml"/><Relationship Id="rId242" Type="http://schemas.openxmlformats.org/officeDocument/2006/relationships/slide" Target="slides/slide238.xml"/><Relationship Id="rId284" Type="http://schemas.openxmlformats.org/officeDocument/2006/relationships/slide" Target="slides/slide280.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052476556671296E-4</c:v>
                </c:pt>
                <c:pt idx="9">
                  <c:v>5.744541844533383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5487835909236735</c:v>
                </c:pt>
                <c:pt idx="1">
                  <c:v>8.7931053557401911E-2</c:v>
                </c:pt>
                <c:pt idx="2">
                  <c:v>0.18810917257630907</c:v>
                </c:pt>
                <c:pt idx="3">
                  <c:v>9.5498346037681564E-2</c:v>
                </c:pt>
                <c:pt idx="4">
                  <c:v>0.1058867782584164</c:v>
                </c:pt>
                <c:pt idx="5">
                  <c:v>3.2581398178981959E-2</c:v>
                </c:pt>
                <c:pt idx="6">
                  <c:v>1.637367378773966E-2</c:v>
                </c:pt>
                <c:pt idx="7">
                  <c:v>1.6738762460033852E-2</c:v>
                </c:pt>
                <c:pt idx="8">
                  <c:v>2.0024560510681611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0.80532655491381089</c:v>
                </c:pt>
                <c:pt idx="1">
                  <c:v>0.62086002073316693</c:v>
                </c:pt>
                <c:pt idx="2">
                  <c:v>1.7824113537163599</c:v>
                </c:pt>
                <c:pt idx="3">
                  <c:v>1.351550105429288</c:v>
                </c:pt>
                <c:pt idx="4">
                  <c:v>1.5457923049666866</c:v>
                </c:pt>
                <c:pt idx="5">
                  <c:v>1.2542257026400674</c:v>
                </c:pt>
                <c:pt idx="6">
                  <c:v>1.3665663878822933</c:v>
                </c:pt>
                <c:pt idx="7">
                  <c:v>1.5783679071585079</c:v>
                </c:pt>
                <c:pt idx="8">
                  <c:v>7.4021173140037115</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B$2:$B$11</c:f>
              <c:numCache>
                <c:formatCode>General</c:formatCode>
                <c:ptCount val="10"/>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6968693627681167E-4</c:v>
                </c:pt>
                <c:pt idx="9">
                  <c:v>1.68796068139409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C$2:$C$11</c:f>
              <c:numCache>
                <c:formatCode>General</c:formatCode>
                <c:ptCount val="10"/>
                <c:pt idx="0">
                  <c:v>0.505338904363974</c:v>
                </c:pt>
                <c:pt idx="1">
                  <c:v>0.14159702878365829</c:v>
                </c:pt>
                <c:pt idx="2">
                  <c:v>0.10863509749303621</c:v>
                </c:pt>
                <c:pt idx="3">
                  <c:v>4.828226555246054E-2</c:v>
                </c:pt>
                <c:pt idx="4">
                  <c:v>6.4531104921077068E-2</c:v>
                </c:pt>
                <c:pt idx="5">
                  <c:v>6.3602599814298985E-2</c:v>
                </c:pt>
                <c:pt idx="6">
                  <c:v>3.4818941504178275E-2</c:v>
                </c:pt>
                <c:pt idx="7">
                  <c:v>3.1104921077065927E-2</c:v>
                </c:pt>
                <c:pt idx="8">
                  <c:v>2.0891364902506965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Comfort 3</c:v>
                </c:pt>
                <c:pt idx="7">
                  <c:v>Van Der Hagen</c:v>
                </c:pt>
                <c:pt idx="8">
                  <c:v>Cremo</c:v>
                </c:pt>
                <c:pt idx="9">
                  <c:v>Others</c:v>
                </c:pt>
              </c:strCache>
            </c:strRef>
          </c:cat>
          <c:val>
            <c:numRef>
              <c:f>Sheet1!$D$2:$D$11</c:f>
              <c:numCache>
                <c:formatCode>General</c:formatCode>
                <c:ptCount val="10"/>
                <c:pt idx="0">
                  <c:v>0.81735190675388658</c:v>
                </c:pt>
                <c:pt idx="1">
                  <c:v>0.75629873390177316</c:v>
                </c:pt>
                <c:pt idx="2">
                  <c:v>1.8441983948198217</c:v>
                </c:pt>
                <c:pt idx="3">
                  <c:v>1.2505410859799952</c:v>
                </c:pt>
                <c:pt idx="4">
                  <c:v>1.9289815818635523</c:v>
                </c:pt>
                <c:pt idx="5">
                  <c:v>2.1558715318029251</c:v>
                </c:pt>
                <c:pt idx="6">
                  <c:v>2.0278684152800364</c:v>
                </c:pt>
                <c:pt idx="7">
                  <c:v>1.862551474775616</c:v>
                </c:pt>
                <c:pt idx="8">
                  <c:v>12.311710825179089</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B$2:$B$12</c:f>
              <c:numCache>
                <c:formatCode>General</c:formatCode>
                <c:ptCount val="11"/>
                <c:pt idx="0">
                  <c:v>0.99</c:v>
                </c:pt>
                <c:pt idx="1">
                  <c:v>0.99</c:v>
                </c:pt>
                <c:pt idx="2">
                  <c:v>0.99</c:v>
                </c:pt>
                <c:pt idx="3">
                  <c:v>0.88</c:v>
                </c:pt>
                <c:pt idx="4">
                  <c:v>0.93</c:v>
                </c:pt>
                <c:pt idx="5">
                  <c:v>0.9</c:v>
                </c:pt>
                <c:pt idx="6">
                  <c:v>0.87</c:v>
                </c:pt>
                <c:pt idx="7">
                  <c:v>0.52</c:v>
                </c:pt>
                <c:pt idx="8">
                  <c:v>0.95</c:v>
                </c:pt>
                <c:pt idx="9">
                  <c:v>0.79</c:v>
                </c:pt>
                <c:pt idx="10">
                  <c:v>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C$2:$C$12</c:f>
              <c:numCache>
                <c:formatCode>General</c:formatCode>
                <c:ptCount val="11"/>
                <c:pt idx="0">
                  <c:v>8.646662988475308E-2</c:v>
                </c:pt>
                <c:pt idx="1">
                  <c:v>0.15268420210872241</c:v>
                </c:pt>
                <c:pt idx="2">
                  <c:v>0.2057540141463296</c:v>
                </c:pt>
                <c:pt idx="3">
                  <c:v>0.25606316648951677</c:v>
                </c:pt>
                <c:pt idx="4">
                  <c:v>0.30479130921559483</c:v>
                </c:pt>
                <c:pt idx="5">
                  <c:v>0.34455844378652534</c:v>
                </c:pt>
                <c:pt idx="6">
                  <c:v>0.3822268336891258</c:v>
                </c:pt>
                <c:pt idx="7">
                  <c:v>0.41957244799920634</c:v>
                </c:pt>
                <c:pt idx="8">
                  <c:v>0.45644876235206261</c:v>
                </c:pt>
                <c:pt idx="9">
                  <c:v>0.48444818525706074</c:v>
                </c:pt>
                <c:pt idx="10">
                  <c:v>0.508047235329054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strCache>
            </c:strRef>
          </c:cat>
          <c:val>
            <c:numRef>
              <c:f>Sheet1!$D$2:$D$12</c:f>
              <c:numCache>
                <c:formatCode>General</c:formatCode>
                <c:ptCount val="11"/>
                <c:pt idx="0">
                  <c:v>18627.454545454544</c:v>
                </c:pt>
                <c:pt idx="1">
                  <c:v>14265.212121212122</c:v>
                </c:pt>
                <c:pt idx="2">
                  <c:v>11432.797979797981</c:v>
                </c:pt>
                <c:pt idx="3">
                  <c:v>12192.829545454546</c:v>
                </c:pt>
                <c:pt idx="4">
                  <c:v>11174.731182795698</c:v>
                </c:pt>
                <c:pt idx="5">
                  <c:v>9423.7111111111117</c:v>
                </c:pt>
                <c:pt idx="6">
                  <c:v>9234.1724137931033</c:v>
                </c:pt>
                <c:pt idx="7">
                  <c:v>15317.096153846154</c:v>
                </c:pt>
                <c:pt idx="8">
                  <c:v>8278.7368421052633</c:v>
                </c:pt>
                <c:pt idx="9">
                  <c:v>7558.9620253164558</c:v>
                </c:pt>
                <c:pt idx="10">
                  <c:v>5592.322222222222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B$2:$B$11</c:f>
              <c:numCache>
                <c:formatCode>General</c:formatCode>
                <c:ptCount val="10"/>
                <c:pt idx="0">
                  <c:v>0.93</c:v>
                </c:pt>
                <c:pt idx="1">
                  <c:v>0.95</c:v>
                </c:pt>
                <c:pt idx="2">
                  <c:v>0.91</c:v>
                </c:pt>
                <c:pt idx="3">
                  <c:v>0.76</c:v>
                </c:pt>
                <c:pt idx="4">
                  <c:v>0.55000000000000004</c:v>
                </c:pt>
                <c:pt idx="5">
                  <c:v>0.79</c:v>
                </c:pt>
                <c:pt idx="6">
                  <c:v>0.66</c:v>
                </c:pt>
                <c:pt idx="7">
                  <c:v>0.56999999999999995</c:v>
                </c:pt>
                <c:pt idx="8">
                  <c:v>0.57999999999999996</c:v>
                </c:pt>
                <c:pt idx="9">
                  <c:v>0.280000000000000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C$2:$C$11</c:f>
              <c:numCache>
                <c:formatCode>General</c:formatCode>
                <c:ptCount val="10"/>
                <c:pt idx="0">
                  <c:v>9.7870616263198429E-2</c:v>
                </c:pt>
                <c:pt idx="1">
                  <c:v>0.18419395078953005</c:v>
                </c:pt>
                <c:pt idx="2">
                  <c:v>0.24884344568792582</c:v>
                </c:pt>
                <c:pt idx="3">
                  <c:v>0.2988711273455536</c:v>
                </c:pt>
                <c:pt idx="4">
                  <c:v>0.34819258396336095</c:v>
                </c:pt>
                <c:pt idx="5">
                  <c:v>0.39222515376203421</c:v>
                </c:pt>
                <c:pt idx="6">
                  <c:v>0.43422905519736715</c:v>
                </c:pt>
                <c:pt idx="7">
                  <c:v>0.46729959401811438</c:v>
                </c:pt>
                <c:pt idx="8">
                  <c:v>0.49765610114608211</c:v>
                </c:pt>
                <c:pt idx="9">
                  <c:v>0.5268228997990184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Gillette</c:v>
                </c:pt>
                <c:pt idx="1">
                  <c:v>Harry's</c:v>
                </c:pt>
                <c:pt idx="2">
                  <c:v>Gillette</c:v>
                </c:pt>
                <c:pt idx="3">
                  <c:v>Gillette</c:v>
                </c:pt>
                <c:pt idx="4">
                  <c:v>Gillette</c:v>
                </c:pt>
                <c:pt idx="5">
                  <c:v>Gillette</c:v>
                </c:pt>
                <c:pt idx="6">
                  <c:v>Harry's</c:v>
                </c:pt>
                <c:pt idx="7">
                  <c:v>Gillette</c:v>
                </c:pt>
                <c:pt idx="8">
                  <c:v>Gillette</c:v>
                </c:pt>
                <c:pt idx="9">
                  <c:v>Gillette</c:v>
                </c:pt>
              </c:strCache>
            </c:strRef>
          </c:cat>
          <c:val>
            <c:numRef>
              <c:f>Sheet1!$D$2:$D$11</c:f>
              <c:numCache>
                <c:formatCode>General</c:formatCode>
                <c:ptCount val="10"/>
                <c:pt idx="0">
                  <c:v>17807.139784946237</c:v>
                </c:pt>
                <c:pt idx="1">
                  <c:v>15375.505263157895</c:v>
                </c:pt>
                <c:pt idx="2">
                  <c:v>12021.219780219781</c:v>
                </c:pt>
                <c:pt idx="3">
                  <c:v>11138.368421052632</c:v>
                </c:pt>
                <c:pt idx="4">
                  <c:v>15173.927272727271</c:v>
                </c:pt>
                <c:pt idx="5">
                  <c:v>9431.3037974683539</c:v>
                </c:pt>
                <c:pt idx="6">
                  <c:v>10768.878787878788</c:v>
                </c:pt>
                <c:pt idx="7">
                  <c:v>9817.2807017543873</c:v>
                </c:pt>
                <c:pt idx="8">
                  <c:v>8856.2241379310362</c:v>
                </c:pt>
                <c:pt idx="9">
                  <c:v>17626.07142857142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B$2:$B$13</c:f>
              <c:numCache>
                <c:formatCode>General</c:formatCode>
                <c:ptCount val="12"/>
                <c:pt idx="0">
                  <c:v>0.99</c:v>
                </c:pt>
                <c:pt idx="1">
                  <c:v>0.99</c:v>
                </c:pt>
                <c:pt idx="2">
                  <c:v>0.99</c:v>
                </c:pt>
                <c:pt idx="3">
                  <c:v>0.94</c:v>
                </c:pt>
                <c:pt idx="4">
                  <c:v>0.94</c:v>
                </c:pt>
                <c:pt idx="5">
                  <c:v>0.88</c:v>
                </c:pt>
                <c:pt idx="6">
                  <c:v>0.65</c:v>
                </c:pt>
                <c:pt idx="7">
                  <c:v>0.96</c:v>
                </c:pt>
                <c:pt idx="8">
                  <c:v>0.84</c:v>
                </c:pt>
                <c:pt idx="9">
                  <c:v>0.86</c:v>
                </c:pt>
                <c:pt idx="10">
                  <c:v>0.89</c:v>
                </c:pt>
                <c:pt idx="11">
                  <c:v>0.8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C$2:$C$13</c:f>
              <c:numCache>
                <c:formatCode>General</c:formatCode>
                <c:ptCount val="12"/>
                <c:pt idx="0">
                  <c:v>8.1329146854941553E-2</c:v>
                </c:pt>
                <c:pt idx="1">
                  <c:v>0.16013863596254391</c:v>
                </c:pt>
                <c:pt idx="2">
                  <c:v>0.21319131460999152</c:v>
                </c:pt>
                <c:pt idx="3">
                  <c:v>0.25340672163864714</c:v>
                </c:pt>
                <c:pt idx="4">
                  <c:v>0.29344865258063962</c:v>
                </c:pt>
                <c:pt idx="5">
                  <c:v>0.33184453857395479</c:v>
                </c:pt>
                <c:pt idx="6">
                  <c:v>0.3669724400168744</c:v>
                </c:pt>
                <c:pt idx="7">
                  <c:v>0.39898034038981878</c:v>
                </c:pt>
                <c:pt idx="8">
                  <c:v>0.42703109395747452</c:v>
                </c:pt>
                <c:pt idx="9">
                  <c:v>0.4528126896589898</c:v>
                </c:pt>
                <c:pt idx="10">
                  <c:v>0.47676633088753906</c:v>
                </c:pt>
                <c:pt idx="11">
                  <c:v>0.500571064940748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strCache>
            </c:strRef>
          </c:cat>
          <c:val>
            <c:numRef>
              <c:f>Sheet1!$D$2:$D$13</c:f>
              <c:numCache>
                <c:formatCode>General</c:formatCode>
                <c:ptCount val="12"/>
                <c:pt idx="0">
                  <c:v>239240.52525252526</c:v>
                </c:pt>
                <c:pt idx="1">
                  <c:v>231828.61616161617</c:v>
                </c:pt>
                <c:pt idx="2">
                  <c:v>156061.52525252526</c:v>
                </c:pt>
                <c:pt idx="3">
                  <c:v>124591.47872340426</c:v>
                </c:pt>
                <c:pt idx="4">
                  <c:v>124054.03191489361</c:v>
                </c:pt>
                <c:pt idx="5">
                  <c:v>127064.94318181818</c:v>
                </c:pt>
                <c:pt idx="6">
                  <c:v>157384.72307692308</c:v>
                </c:pt>
                <c:pt idx="7">
                  <c:v>97097.864583333328</c:v>
                </c:pt>
                <c:pt idx="8">
                  <c:v>97249.857142857145</c:v>
                </c:pt>
                <c:pt idx="9">
                  <c:v>87304.186046511633</c:v>
                </c:pt>
                <c:pt idx="10">
                  <c:v>78380</c:v>
                </c:pt>
                <c:pt idx="11">
                  <c:v>85585.86419753087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B$2:$B$14</c:f>
              <c:numCache>
                <c:formatCode>General</c:formatCode>
                <c:ptCount val="13"/>
                <c:pt idx="0">
                  <c:v>0.91</c:v>
                </c:pt>
                <c:pt idx="1">
                  <c:v>0.97499999999999998</c:v>
                </c:pt>
                <c:pt idx="2">
                  <c:v>0.98499999999999999</c:v>
                </c:pt>
                <c:pt idx="3">
                  <c:v>0.94199999999999995</c:v>
                </c:pt>
                <c:pt idx="4">
                  <c:v>0.85199999999999998</c:v>
                </c:pt>
                <c:pt idx="5">
                  <c:v>0.96299999999999997</c:v>
                </c:pt>
                <c:pt idx="6">
                  <c:v>0.95</c:v>
                </c:pt>
                <c:pt idx="7">
                  <c:v>0.98699999999999999</c:v>
                </c:pt>
                <c:pt idx="8">
                  <c:v>0.80400000000000005</c:v>
                </c:pt>
                <c:pt idx="9">
                  <c:v>0.66500000000000004</c:v>
                </c:pt>
                <c:pt idx="10">
                  <c:v>0.93899999999999995</c:v>
                </c:pt>
                <c:pt idx="11">
                  <c:v>0.85699999999999998</c:v>
                </c:pt>
                <c:pt idx="12">
                  <c:v>0.79300000000000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FFBFBF"/>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C$2:$C$14</c:f>
              <c:numCache>
                <c:formatCode>General</c:formatCode>
                <c:ptCount val="13"/>
                <c:pt idx="0">
                  <c:v>6.7910148356552555E-2</c:v>
                </c:pt>
                <c:pt idx="1">
                  <c:v>0.12219436758468043</c:v>
                </c:pt>
                <c:pt idx="2">
                  <c:v>0.17629512021373683</c:v>
                </c:pt>
                <c:pt idx="3">
                  <c:v>0.22306920056492457</c:v>
                </c:pt>
                <c:pt idx="4">
                  <c:v>0.26617974697618846</c:v>
                </c:pt>
                <c:pt idx="5">
                  <c:v>0.30406581293863993</c:v>
                </c:pt>
                <c:pt idx="6">
                  <c:v>0.33997815881473592</c:v>
                </c:pt>
                <c:pt idx="7">
                  <c:v>0.37516253523654641</c:v>
                </c:pt>
                <c:pt idx="8">
                  <c:v>0.40864299830300349</c:v>
                </c:pt>
                <c:pt idx="9">
                  <c:v>0.44106545478286069</c:v>
                </c:pt>
                <c:pt idx="10">
                  <c:v>0.4715835142419123</c:v>
                </c:pt>
                <c:pt idx="11">
                  <c:v>0.49878162007985644</c:v>
                </c:pt>
                <c:pt idx="12">
                  <c:v>0.52408150399663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strCache>
            </c:strRef>
          </c:cat>
          <c:val>
            <c:numRef>
              <c:f>Sheet1!$D$2:$D$14</c:f>
              <c:numCache>
                <c:formatCode>General</c:formatCode>
                <c:ptCount val="13"/>
                <c:pt idx="0">
                  <c:v>120729.89010989011</c:v>
                </c:pt>
                <c:pt idx="1">
                  <c:v>90072.143589743588</c:v>
                </c:pt>
                <c:pt idx="2">
                  <c:v>88856.375634517768</c:v>
                </c:pt>
                <c:pt idx="3">
                  <c:v>80329.649681528666</c:v>
                </c:pt>
                <c:pt idx="4">
                  <c:v>81858.814553990611</c:v>
                </c:pt>
                <c:pt idx="5">
                  <c:v>63646.531671858778</c:v>
                </c:pt>
                <c:pt idx="6">
                  <c:v>61156.368421052633</c:v>
                </c:pt>
                <c:pt idx="7">
                  <c:v>57670.567375886523</c:v>
                </c:pt>
                <c:pt idx="8">
                  <c:v>67368.507462686568</c:v>
                </c:pt>
                <c:pt idx="9">
                  <c:v>78876.165413533832</c:v>
                </c:pt>
                <c:pt idx="10">
                  <c:v>52579.062832800853</c:v>
                </c:pt>
                <c:pt idx="11">
                  <c:v>51342.777129521586</c:v>
                </c:pt>
                <c:pt idx="12">
                  <c:v>51613.921815889029</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Schick</c:v>
                </c:pt>
              </c:strCache>
            </c:strRef>
          </c:cat>
          <c:val>
            <c:numRef>
              <c:f>Sheet1!$B$2:$B$3</c:f>
              <c:numCache>
                <c:formatCode>General</c:formatCode>
                <c:ptCount val="2"/>
                <c:pt idx="0">
                  <c:v>1</c:v>
                </c:pt>
                <c:pt idx="1">
                  <c:v>0.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FFBFBF"/>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Schick</c:v>
                </c:pt>
              </c:strCache>
            </c:strRef>
          </c:cat>
          <c:val>
            <c:numRef>
              <c:f>Sheet1!$C$2:$C$3</c:f>
              <c:numCache>
                <c:formatCode>General</c:formatCode>
                <c:ptCount val="2"/>
                <c:pt idx="0">
                  <c:v>0.45040300931672739</c:v>
                </c:pt>
                <c:pt idx="1">
                  <c:v>0.719289984197751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Schick</c:v>
                </c:pt>
              </c:strCache>
            </c:strRef>
          </c:cat>
          <c:val>
            <c:numRef>
              <c:f>Sheet1!$D$2:$D$3</c:f>
              <c:numCache>
                <c:formatCode>General</c:formatCode>
                <c:ptCount val="2"/>
                <c:pt idx="0">
                  <c:v>37264.120000000003</c:v>
                </c:pt>
                <c:pt idx="1">
                  <c:v>22471.09090909090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49880778957869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127750.9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B$2:$B$13</c:f>
              <c:numCache>
                <c:formatCode>General</c:formatCode>
                <c:ptCount val="12"/>
                <c:pt idx="0">
                  <c:v>0.94</c:v>
                </c:pt>
                <c:pt idx="1">
                  <c:v>0.96</c:v>
                </c:pt>
                <c:pt idx="2">
                  <c:v>0.98</c:v>
                </c:pt>
                <c:pt idx="3">
                  <c:v>0.88</c:v>
                </c:pt>
                <c:pt idx="4">
                  <c:v>0.98</c:v>
                </c:pt>
                <c:pt idx="5">
                  <c:v>0.77</c:v>
                </c:pt>
                <c:pt idx="6">
                  <c:v>0.81</c:v>
                </c:pt>
                <c:pt idx="7">
                  <c:v>0.95</c:v>
                </c:pt>
                <c:pt idx="8">
                  <c:v>0.99</c:v>
                </c:pt>
                <c:pt idx="9">
                  <c:v>0.95</c:v>
                </c:pt>
                <c:pt idx="10">
                  <c:v>0.94</c:v>
                </c:pt>
                <c:pt idx="11">
                  <c:v>0.7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FFBFBF"/>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C$2:$C$13</c:f>
              <c:numCache>
                <c:formatCode>General</c:formatCode>
                <c:ptCount val="12"/>
                <c:pt idx="0">
                  <c:v>7.3717593719280022E-2</c:v>
                </c:pt>
                <c:pt idx="1">
                  <c:v>0.12889610252734976</c:v>
                </c:pt>
                <c:pt idx="2">
                  <c:v>0.18048362463615092</c:v>
                </c:pt>
                <c:pt idx="3">
                  <c:v>0.23044884459357171</c:v>
                </c:pt>
                <c:pt idx="4">
                  <c:v>0.27695591270305125</c:v>
                </c:pt>
                <c:pt idx="5">
                  <c:v>0.32044395814130855</c:v>
                </c:pt>
                <c:pt idx="6">
                  <c:v>0.35709418972082069</c:v>
                </c:pt>
                <c:pt idx="7">
                  <c:v>0.39362193423026881</c:v>
                </c:pt>
                <c:pt idx="8">
                  <c:v>0.42807851283220688</c:v>
                </c:pt>
                <c:pt idx="9">
                  <c:v>0.4618246204376345</c:v>
                </c:pt>
                <c:pt idx="10">
                  <c:v>0.49332541280940345</c:v>
                </c:pt>
                <c:pt idx="11">
                  <c:v>0.52329802951417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strCache>
            </c:strRef>
          </c:cat>
          <c:val>
            <c:numRef>
              <c:f>Sheet1!$D$2:$D$13</c:f>
              <c:numCache>
                <c:formatCode>General</c:formatCode>
                <c:ptCount val="12"/>
                <c:pt idx="0">
                  <c:v>10231.276595744681</c:v>
                </c:pt>
                <c:pt idx="1">
                  <c:v>7498.6875</c:v>
                </c:pt>
                <c:pt idx="2">
                  <c:v>6867.6020408163267</c:v>
                </c:pt>
                <c:pt idx="3">
                  <c:v>7407.5</c:v>
                </c:pt>
                <c:pt idx="4">
                  <c:v>6191.2653061224491</c:v>
                </c:pt>
                <c:pt idx="5">
                  <c:v>7368.272727272727</c:v>
                </c:pt>
                <c:pt idx="6">
                  <c:v>5903.0740740740739</c:v>
                </c:pt>
                <c:pt idx="7">
                  <c:v>5016.3263157894735</c:v>
                </c:pt>
                <c:pt idx="8">
                  <c:v>4540.7070707070707</c:v>
                </c:pt>
                <c:pt idx="9">
                  <c:v>4634.3263157894735</c:v>
                </c:pt>
                <c:pt idx="10">
                  <c:v>4372</c:v>
                </c:pt>
                <c:pt idx="11">
                  <c:v>5145.144736842105</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B$2:$B$12</c:f>
              <c:numCache>
                <c:formatCode>General</c:formatCode>
                <c:ptCount val="11"/>
                <c:pt idx="0">
                  <c:v>0.73</c:v>
                </c:pt>
                <c:pt idx="1">
                  <c:v>0.9</c:v>
                </c:pt>
                <c:pt idx="2">
                  <c:v>0.8</c:v>
                </c:pt>
                <c:pt idx="3">
                  <c:v>0.91</c:v>
                </c:pt>
                <c:pt idx="4">
                  <c:v>0.87</c:v>
                </c:pt>
                <c:pt idx="5">
                  <c:v>0.56000000000000005</c:v>
                </c:pt>
                <c:pt idx="6">
                  <c:v>0.81</c:v>
                </c:pt>
                <c:pt idx="7">
                  <c:v>0.94</c:v>
                </c:pt>
                <c:pt idx="8">
                  <c:v>0.77</c:v>
                </c:pt>
                <c:pt idx="9">
                  <c:v>0.65</c:v>
                </c:pt>
                <c:pt idx="10">
                  <c:v>0.4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FFBFBF"/>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FFBFBF"/>
              </a:solidFill>
            </c:spPr>
            <c:extLst>
              <c:ext xmlns:c16="http://schemas.microsoft.com/office/drawing/2014/chart" uri="{C3380CC4-5D6E-409C-BE32-E72D297353CC}">
                <c16:uniqueId val="{00000049-2993-41DE-A2CB-63102DE87051}"/>
              </c:ext>
            </c:extLst>
          </c:dPt>
          <c:dPt>
            <c:idx val="9"/>
            <c:invertIfNegative val="1"/>
            <c:bubble3D val="0"/>
            <c:spPr>
              <a:solidFill>
                <a:srgbClr val="FFBFBF"/>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C$2:$C$12</c:f>
              <c:numCache>
                <c:formatCode>General</c:formatCode>
                <c:ptCount val="11"/>
                <c:pt idx="0">
                  <c:v>7.1987089545617652E-2</c:v>
                </c:pt>
                <c:pt idx="1">
                  <c:v>0.13260411865714944</c:v>
                </c:pt>
                <c:pt idx="2">
                  <c:v>0.19196969423351884</c:v>
                </c:pt>
                <c:pt idx="3">
                  <c:v>0.24383351693088751</c:v>
                </c:pt>
                <c:pt idx="4">
                  <c:v>0.29362607655821721</c:v>
                </c:pt>
                <c:pt idx="5">
                  <c:v>0.33649417525963421</c:v>
                </c:pt>
                <c:pt idx="6">
                  <c:v>0.37865906130483296</c:v>
                </c:pt>
                <c:pt idx="7">
                  <c:v>0.41803160913899684</c:v>
                </c:pt>
                <c:pt idx="8">
                  <c:v>0.45128880772036223</c:v>
                </c:pt>
                <c:pt idx="9">
                  <c:v>0.4833858281008685</c:v>
                </c:pt>
                <c:pt idx="10">
                  <c:v>0.514961499475117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Gillette</c:v>
                </c:pt>
                <c:pt idx="1">
                  <c:v>Gillette</c:v>
                </c:pt>
                <c:pt idx="2">
                  <c:v>Gillette</c:v>
                </c:pt>
                <c:pt idx="3">
                  <c:v>Equate</c:v>
                </c:pt>
                <c:pt idx="4">
                  <c:v>Gillette</c:v>
                </c:pt>
                <c:pt idx="5">
                  <c:v>Gillette</c:v>
                </c:pt>
                <c:pt idx="6">
                  <c:v>Gillette</c:v>
                </c:pt>
                <c:pt idx="7">
                  <c:v>Bic</c:v>
                </c:pt>
                <c:pt idx="8">
                  <c:v>Schick</c:v>
                </c:pt>
                <c:pt idx="9">
                  <c:v>Schick</c:v>
                </c:pt>
                <c:pt idx="10">
                  <c:v>Gillette</c:v>
                </c:pt>
              </c:strCache>
            </c:strRef>
          </c:cat>
          <c:val>
            <c:numRef>
              <c:f>Sheet1!$D$2:$D$12</c:f>
              <c:numCache>
                <c:formatCode>General</c:formatCode>
                <c:ptCount val="11"/>
                <c:pt idx="0">
                  <c:v>10047.575342465754</c:v>
                </c:pt>
                <c:pt idx="1">
                  <c:v>6862.4888888888891</c:v>
                </c:pt>
                <c:pt idx="2">
                  <c:v>7560.9125000000004</c:v>
                </c:pt>
                <c:pt idx="3">
                  <c:v>5807.0109890109889</c:v>
                </c:pt>
                <c:pt idx="4">
                  <c:v>5831.4252873563219</c:v>
                </c:pt>
                <c:pt idx="5">
                  <c:v>7799.6607142857129</c:v>
                </c:pt>
                <c:pt idx="6">
                  <c:v>5303.9012345679012</c:v>
                </c:pt>
                <c:pt idx="7">
                  <c:v>4267.7127659574471</c:v>
                </c:pt>
                <c:pt idx="8">
                  <c:v>4400.727272727273</c:v>
                </c:pt>
                <c:pt idx="9">
                  <c:v>5031.3076923076924</c:v>
                </c:pt>
                <c:pt idx="10">
                  <c:v>7149.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B$2:$B$14</c:f>
              <c:numCache>
                <c:formatCode>General</c:formatCode>
                <c:ptCount val="13"/>
                <c:pt idx="0">
                  <c:v>0.92</c:v>
                </c:pt>
                <c:pt idx="1">
                  <c:v>0.99</c:v>
                </c:pt>
                <c:pt idx="2">
                  <c:v>0.98</c:v>
                </c:pt>
                <c:pt idx="3">
                  <c:v>0.95</c:v>
                </c:pt>
                <c:pt idx="4">
                  <c:v>0.87</c:v>
                </c:pt>
                <c:pt idx="5">
                  <c:v>0.97</c:v>
                </c:pt>
                <c:pt idx="6">
                  <c:v>0.96</c:v>
                </c:pt>
                <c:pt idx="7">
                  <c:v>0.83</c:v>
                </c:pt>
                <c:pt idx="8">
                  <c:v>0.99</c:v>
                </c:pt>
                <c:pt idx="9">
                  <c:v>0.68</c:v>
                </c:pt>
                <c:pt idx="10">
                  <c:v>0.95</c:v>
                </c:pt>
                <c:pt idx="11">
                  <c:v>0.87</c:v>
                </c:pt>
                <c:pt idx="12">
                  <c:v>0.9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FFBFBF"/>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FFBFBF"/>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C$2:$C$14</c:f>
              <c:numCache>
                <c:formatCode>General</c:formatCode>
                <c:ptCount val="13"/>
                <c:pt idx="0">
                  <c:v>6.706344494347008E-2</c:v>
                </c:pt>
                <c:pt idx="1">
                  <c:v>0.12204378581667386</c:v>
                </c:pt>
                <c:pt idx="2">
                  <c:v>0.17611620993744068</c:v>
                </c:pt>
                <c:pt idx="3">
                  <c:v>0.22117284733140821</c:v>
                </c:pt>
                <c:pt idx="4">
                  <c:v>0.26365573785436502</c:v>
                </c:pt>
                <c:pt idx="5">
                  <c:v>0.30105600954801648</c:v>
                </c:pt>
                <c:pt idx="6">
                  <c:v>0.3364505724081438</c:v>
                </c:pt>
                <c:pt idx="7">
                  <c:v>0.37166420297665409</c:v>
                </c:pt>
                <c:pt idx="8">
                  <c:v>0.40660910213936424</c:v>
                </c:pt>
                <c:pt idx="9">
                  <c:v>0.43855633715261161</c:v>
                </c:pt>
                <c:pt idx="10">
                  <c:v>0.46878040988977476</c:v>
                </c:pt>
                <c:pt idx="11">
                  <c:v>0.49570148485957183</c:v>
                </c:pt>
                <c:pt idx="12">
                  <c:v>0.5207820625976646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4</c:f>
              <c:strCache>
                <c:ptCount val="13"/>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strCache>
            </c:strRef>
          </c:cat>
          <c:val>
            <c:numRef>
              <c:f>Sheet1!$D$2:$D$14</c:f>
              <c:numCache>
                <c:formatCode>General</c:formatCode>
                <c:ptCount val="13"/>
                <c:pt idx="0">
                  <c:v>100991.38043478261</c:v>
                </c:pt>
                <c:pt idx="1">
                  <c:v>76941.121212121216</c:v>
                </c:pt>
                <c:pt idx="2">
                  <c:v>76442.704081632648</c:v>
                </c:pt>
                <c:pt idx="3">
                  <c:v>65708.484210526309</c:v>
                </c:pt>
                <c:pt idx="4">
                  <c:v>67652.068965517246</c:v>
                </c:pt>
                <c:pt idx="5">
                  <c:v>53418.206185567011</c:v>
                </c:pt>
                <c:pt idx="6">
                  <c:v>51080.083333333336</c:v>
                </c:pt>
                <c:pt idx="7">
                  <c:v>58778.566265060239</c:v>
                </c:pt>
                <c:pt idx="8">
                  <c:v>48902.929292929293</c:v>
                </c:pt>
                <c:pt idx="9">
                  <c:v>65089.455882352944</c:v>
                </c:pt>
                <c:pt idx="10">
                  <c:v>44077.368421052633</c:v>
                </c:pt>
                <c:pt idx="11">
                  <c:v>42870.586206896551</c:v>
                </c:pt>
                <c:pt idx="12">
                  <c:v>36195.333333333336</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B$2:$B$8</c:f>
              <c:numCache>
                <c:formatCode>General</c:formatCode>
                <c:ptCount val="7"/>
                <c:pt idx="0">
                  <c:v>0.92900000000000005</c:v>
                </c:pt>
                <c:pt idx="1">
                  <c:v>0.94899999999999995</c:v>
                </c:pt>
                <c:pt idx="2">
                  <c:v>0.83799999999999997</c:v>
                </c:pt>
                <c:pt idx="3">
                  <c:v>0.84899999999999998</c:v>
                </c:pt>
                <c:pt idx="4">
                  <c:v>0.89700000000000002</c:v>
                </c:pt>
                <c:pt idx="5">
                  <c:v>0.92100000000000004</c:v>
                </c:pt>
                <c:pt idx="6">
                  <c:v>0.6320000000000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C$2:$C$8</c:f>
              <c:numCache>
                <c:formatCode>General</c:formatCode>
                <c:ptCount val="7"/>
                <c:pt idx="0">
                  <c:v>0.12308699612575454</c:v>
                </c:pt>
                <c:pt idx="1">
                  <c:v>0.22169717203232286</c:v>
                </c:pt>
                <c:pt idx="2">
                  <c:v>0.30000944583341527</c:v>
                </c:pt>
                <c:pt idx="3">
                  <c:v>0.36978396190527002</c:v>
                </c:pt>
                <c:pt idx="4">
                  <c:v>0.43435190297926091</c:v>
                </c:pt>
                <c:pt idx="5">
                  <c:v>0.49274297225814329</c:v>
                </c:pt>
                <c:pt idx="6">
                  <c:v>0.5396630508762618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Gillette</c:v>
                </c:pt>
                <c:pt idx="1">
                  <c:v>Gillette</c:v>
                </c:pt>
                <c:pt idx="2">
                  <c:v>Gillette</c:v>
                </c:pt>
                <c:pt idx="3">
                  <c:v>Harry's</c:v>
                </c:pt>
                <c:pt idx="4">
                  <c:v>Gillette</c:v>
                </c:pt>
                <c:pt idx="5">
                  <c:v>Harry's</c:v>
                </c:pt>
                <c:pt idx="6">
                  <c:v>Gillette</c:v>
                </c:pt>
              </c:strCache>
            </c:strRef>
          </c:cat>
          <c:val>
            <c:numRef>
              <c:f>Sheet1!$D$2:$D$8</c:f>
              <c:numCache>
                <c:formatCode>General</c:formatCode>
                <c:ptCount val="7"/>
                <c:pt idx="0">
                  <c:v>145821.79763186219</c:v>
                </c:pt>
                <c:pt idx="1">
                  <c:v>114361.93888303479</c:v>
                </c:pt>
                <c:pt idx="2">
                  <c:v>102851.77804295943</c:v>
                </c:pt>
                <c:pt idx="3">
                  <c:v>90451.366313309787</c:v>
                </c:pt>
                <c:pt idx="4">
                  <c:v>79222.853957636558</c:v>
                </c:pt>
                <c:pt idx="5">
                  <c:v>69777.079261672086</c:v>
                </c:pt>
                <c:pt idx="6">
                  <c:v>81708.57594936709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B$2:$B$10</c:f>
              <c:numCache>
                <c:formatCode>General</c:formatCode>
                <c:ptCount val="9"/>
                <c:pt idx="0">
                  <c:v>0.59012128868399372</c:v>
                </c:pt>
                <c:pt idx="1">
                  <c:v>0.20514442686203471</c:v>
                </c:pt>
                <c:pt idx="2">
                  <c:v>6.2632646200993888E-2</c:v>
                </c:pt>
                <c:pt idx="3">
                  <c:v>4.56218420807529E-2</c:v>
                </c:pt>
                <c:pt idx="4">
                  <c:v>4.141829608641405E-2</c:v>
                </c:pt>
                <c:pt idx="5">
                  <c:v>4.0043314347797926E-2</c:v>
                </c:pt>
                <c:pt idx="6">
                  <c:v>1.3853653151430251E-2</c:v>
                </c:pt>
                <c:pt idx="7">
                  <c:v>4.0186864190620004E-6</c:v>
                </c:pt>
                <c:pt idx="8">
                  <c:v>1.160513900163536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C$2:$C$10</c:f>
              <c:numCache>
                <c:formatCode>General</c:formatCode>
                <c:ptCount val="9"/>
                <c:pt idx="0">
                  <c:v>0.47100840336134464</c:v>
                </c:pt>
                <c:pt idx="1">
                  <c:v>0.16218487394957984</c:v>
                </c:pt>
                <c:pt idx="2">
                  <c:v>0.11680672268907563</c:v>
                </c:pt>
                <c:pt idx="3">
                  <c:v>7.9831932773109252E-2</c:v>
                </c:pt>
                <c:pt idx="4">
                  <c:v>4.957983193277312E-2</c:v>
                </c:pt>
                <c:pt idx="5">
                  <c:v>8.3613445378151255E-2</c:v>
                </c:pt>
                <c:pt idx="6">
                  <c:v>2.8991596638655463E-2</c:v>
                </c:pt>
                <c:pt idx="7">
                  <c:v>0</c:v>
                </c:pt>
                <c:pt idx="8">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Dollar Shave Club</c:v>
                </c:pt>
                <c:pt idx="4">
                  <c:v>Schick</c:v>
                </c:pt>
                <c:pt idx="5">
                  <c:v>Equate</c:v>
                </c:pt>
                <c:pt idx="6">
                  <c:v>Comfort 3</c:v>
                </c:pt>
                <c:pt idx="7">
                  <c:v>Cremo</c:v>
                </c:pt>
                <c:pt idx="8">
                  <c:v>Others</c:v>
                </c:pt>
              </c:strCache>
            </c:strRef>
          </c:cat>
          <c:val>
            <c:numRef>
              <c:f>Sheet1!$D$2:$D$10</c:f>
              <c:numCache>
                <c:formatCode>General</c:formatCode>
                <c:ptCount val="9"/>
                <c:pt idx="0">
                  <c:v>0.79815524773173663</c:v>
                </c:pt>
                <c:pt idx="1">
                  <c:v>0.79058873999367107</c:v>
                </c:pt>
                <c:pt idx="2">
                  <c:v>1.86494950754966</c:v>
                </c:pt>
                <c:pt idx="3">
                  <c:v>1.7498621084129573</c:v>
                </c:pt>
                <c:pt idx="4">
                  <c:v>1.1970514631826248</c:v>
                </c:pt>
                <c:pt idx="5">
                  <c:v>2.0880750442364255</c:v>
                </c:pt>
                <c:pt idx="6">
                  <c:v>2.092704091964535</c:v>
                </c:pt>
                <c:pt idx="7">
                  <c:v>0</c:v>
                </c:pt>
                <c:pt idx="8">
                  <c:v>6.87901564659066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Harry's</c:v>
                </c:pt>
              </c:strCache>
            </c:strRef>
          </c:cat>
          <c:val>
            <c:numRef>
              <c:f>Sheet1!$B$2:$B$3</c:f>
              <c:numCache>
                <c:formatCode>General</c:formatCode>
                <c:ptCount val="2"/>
                <c:pt idx="0">
                  <c:v>0.98</c:v>
                </c:pt>
                <c:pt idx="1">
                  <c:v>0.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Harry's</c:v>
                </c:pt>
              </c:strCache>
            </c:strRef>
          </c:cat>
          <c:val>
            <c:numRef>
              <c:f>Sheet1!$C$2:$C$3</c:f>
              <c:numCache>
                <c:formatCode>General</c:formatCode>
                <c:ptCount val="2"/>
                <c:pt idx="0">
                  <c:v>0.4367633162117775</c:v>
                </c:pt>
                <c:pt idx="1">
                  <c:v>0.750685952152416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Harry's</c:v>
                </c:pt>
              </c:strCache>
            </c:strRef>
          </c:cat>
          <c:val>
            <c:numRef>
              <c:f>Sheet1!$D$2:$D$3</c:f>
              <c:numCache>
                <c:formatCode>General</c:formatCode>
                <c:ptCount val="2"/>
                <c:pt idx="0">
                  <c:v>28759.857142857141</c:v>
                </c:pt>
                <c:pt idx="1">
                  <c:v>20462.28282828282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99372890338064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76871.25274725274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Gillette</c:v>
                </c:pt>
                <c:pt idx="2">
                  <c:v>Gillette</c:v>
                </c:pt>
                <c:pt idx="3">
                  <c:v>Gillette</c:v>
                </c:pt>
                <c:pt idx="4">
                  <c:v>Harry's</c:v>
                </c:pt>
                <c:pt idx="5">
                  <c:v>Harry's</c:v>
                </c:pt>
              </c:strCache>
            </c:strRef>
          </c:cat>
          <c:val>
            <c:numRef>
              <c:f>Sheet1!$B$2:$B$7</c:f>
              <c:numCache>
                <c:formatCode>General</c:formatCode>
                <c:ptCount val="6"/>
                <c:pt idx="0">
                  <c:v>0.93</c:v>
                </c:pt>
                <c:pt idx="1">
                  <c:v>0.95</c:v>
                </c:pt>
                <c:pt idx="2">
                  <c:v>0.79</c:v>
                </c:pt>
                <c:pt idx="3">
                  <c:v>0.9</c:v>
                </c:pt>
                <c:pt idx="4">
                  <c:v>0.75</c:v>
                </c:pt>
                <c:pt idx="5">
                  <c:v>0.8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Gillette</c:v>
                </c:pt>
                <c:pt idx="2">
                  <c:v>Gillette</c:v>
                </c:pt>
                <c:pt idx="3">
                  <c:v>Gillette</c:v>
                </c:pt>
                <c:pt idx="4">
                  <c:v>Harry's</c:v>
                </c:pt>
                <c:pt idx="5">
                  <c:v>Harry's</c:v>
                </c:pt>
              </c:strCache>
            </c:strRef>
          </c:cat>
          <c:val>
            <c:numRef>
              <c:f>Sheet1!$C$2:$C$7</c:f>
              <c:numCache>
                <c:formatCode>General</c:formatCode>
                <c:ptCount val="6"/>
                <c:pt idx="0">
                  <c:v>0.14684023274017932</c:v>
                </c:pt>
                <c:pt idx="1">
                  <c:v>0.25796547329394043</c:v>
                </c:pt>
                <c:pt idx="2">
                  <c:v>0.34234057043385863</c:v>
                </c:pt>
                <c:pt idx="3">
                  <c:v>0.41345532694117343</c:v>
                </c:pt>
                <c:pt idx="4">
                  <c:v>0.47385106437091479</c:v>
                </c:pt>
                <c:pt idx="5">
                  <c:v>0.530449937971746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Gillette</c:v>
                </c:pt>
                <c:pt idx="1">
                  <c:v>Gillette</c:v>
                </c:pt>
                <c:pt idx="2">
                  <c:v>Gillette</c:v>
                </c:pt>
                <c:pt idx="3">
                  <c:v>Gillette</c:v>
                </c:pt>
                <c:pt idx="4">
                  <c:v>Harry's</c:v>
                </c:pt>
                <c:pt idx="5">
                  <c:v>Harry's</c:v>
                </c:pt>
              </c:strCache>
            </c:strRef>
          </c:cat>
          <c:val>
            <c:numRef>
              <c:f>Sheet1!$D$2:$D$7</c:f>
              <c:numCache>
                <c:formatCode>General</c:formatCode>
                <c:ptCount val="6"/>
                <c:pt idx="0">
                  <c:v>11174.731182795698</c:v>
                </c:pt>
                <c:pt idx="1">
                  <c:v>8278.7368421052633</c:v>
                </c:pt>
                <c:pt idx="2">
                  <c:v>7558.9620253164558</c:v>
                </c:pt>
                <c:pt idx="3">
                  <c:v>5592.3222222222221</c:v>
                </c:pt>
                <c:pt idx="4">
                  <c:v>5699.28</c:v>
                </c:pt>
                <c:pt idx="5">
                  <c:v>4551.9772727272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Gillette</c:v>
                </c:pt>
                <c:pt idx="2">
                  <c:v>Gillette</c:v>
                </c:pt>
                <c:pt idx="3">
                  <c:v>Gillette</c:v>
                </c:pt>
                <c:pt idx="4">
                  <c:v>Harry's</c:v>
                </c:pt>
              </c:strCache>
            </c:strRef>
          </c:cat>
          <c:val>
            <c:numRef>
              <c:f>Sheet1!$B$2:$B$6</c:f>
              <c:numCache>
                <c:formatCode>General</c:formatCode>
                <c:ptCount val="5"/>
                <c:pt idx="0">
                  <c:v>0.76</c:v>
                </c:pt>
                <c:pt idx="1">
                  <c:v>0.79</c:v>
                </c:pt>
                <c:pt idx="2">
                  <c:v>0.57999999999999996</c:v>
                </c:pt>
                <c:pt idx="3">
                  <c:v>0.71</c:v>
                </c:pt>
                <c:pt idx="4">
                  <c:v>0.6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Gillette</c:v>
                </c:pt>
                <c:pt idx="2">
                  <c:v>Gillette</c:v>
                </c:pt>
                <c:pt idx="3">
                  <c:v>Gillette</c:v>
                </c:pt>
                <c:pt idx="4">
                  <c:v>Harry's</c:v>
                </c:pt>
              </c:strCache>
            </c:strRef>
          </c:cat>
          <c:val>
            <c:numRef>
              <c:f>Sheet1!$C$2:$C$6</c:f>
              <c:numCache>
                <c:formatCode>General</c:formatCode>
                <c:ptCount val="5"/>
                <c:pt idx="0">
                  <c:v>0.15836197139623417</c:v>
                </c:pt>
                <c:pt idx="1">
                  <c:v>0.29774649468239345</c:v>
                </c:pt>
                <c:pt idx="2">
                  <c:v>0.39383962061192229</c:v>
                </c:pt>
                <c:pt idx="3">
                  <c:v>0.47369445042045105</c:v>
                </c:pt>
                <c:pt idx="4">
                  <c:v>0.550700315221356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Gillette</c:v>
                </c:pt>
                <c:pt idx="2">
                  <c:v>Gillette</c:v>
                </c:pt>
                <c:pt idx="3">
                  <c:v>Gillette</c:v>
                </c:pt>
                <c:pt idx="4">
                  <c:v>Harry's</c:v>
                </c:pt>
              </c:strCache>
            </c:strRef>
          </c:cat>
          <c:val>
            <c:numRef>
              <c:f>Sheet1!$D$2:$D$6</c:f>
              <c:numCache>
                <c:formatCode>General</c:formatCode>
                <c:ptCount val="5"/>
                <c:pt idx="0">
                  <c:v>11138.368421052632</c:v>
                </c:pt>
                <c:pt idx="1">
                  <c:v>9431.3037974683539</c:v>
                </c:pt>
                <c:pt idx="2">
                  <c:v>8856.2241379310362</c:v>
                </c:pt>
                <c:pt idx="3">
                  <c:v>6012.1126760563384</c:v>
                </c:pt>
                <c:pt idx="4">
                  <c:v>5965.66666666666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B$2:$B$8</c:f>
              <c:numCache>
                <c:formatCode>General</c:formatCode>
                <c:ptCount val="7"/>
                <c:pt idx="0">
                  <c:v>0.94</c:v>
                </c:pt>
                <c:pt idx="1">
                  <c:v>0.96</c:v>
                </c:pt>
                <c:pt idx="2">
                  <c:v>0.86</c:v>
                </c:pt>
                <c:pt idx="3">
                  <c:v>0.89</c:v>
                </c:pt>
                <c:pt idx="4">
                  <c:v>0.91</c:v>
                </c:pt>
                <c:pt idx="5">
                  <c:v>0.94</c:v>
                </c:pt>
                <c:pt idx="6">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Gillette</c:v>
                </c:pt>
                <c:pt idx="2">
                  <c:v>Gillette</c:v>
                </c:pt>
                <c:pt idx="3">
                  <c:v>Harry's</c:v>
                </c:pt>
                <c:pt idx="4">
                  <c:v>Gillette</c:v>
                </c:pt>
                <c:pt idx="5">
                  <c:v>Harry's</c:v>
                </c:pt>
                <c:pt idx="6">
                  <c:v>Gillette</c:v>
                </c:pt>
              </c:strCache>
            </c:strRef>
          </c:cat>
          <c:val>
            <c:numRef>
              <c:f>Sheet1!$C$2:$C$8</c:f>
              <c:numCache>
                <c:formatCode>General</c:formatCode>
                <c:ptCount val="7"/>
                <c:pt idx="0">
                  <c:v>0.11943392370361504</c:v>
                </c:pt>
                <c:pt idx="1">
                  <c:v>0.21490457262394724</c:v>
                </c:pt>
                <c:pt idx="2">
                  <c:v>0.29180388945342195</c:v>
                </c:pt>
                <c:pt idx="3">
                  <c:v>0.36325092738620257</c:v>
                </c:pt>
                <c:pt idx="4">
                  <c:v>0.42650736911842091</c:v>
                </c:pt>
                <c:pt idx="5">
                  <c:v>0.48400921592247331</c:v>
                </c:pt>
                <c:pt idx="6">
                  <c:v>0.5326957394650948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Gillette</c:v>
                </c:pt>
                <c:pt idx="1">
                  <c:v>Gillette</c:v>
                </c:pt>
                <c:pt idx="2">
                  <c:v>Gillette</c:v>
                </c:pt>
                <c:pt idx="3">
                  <c:v>Harry's</c:v>
                </c:pt>
                <c:pt idx="4">
                  <c:v>Gillette</c:v>
                </c:pt>
                <c:pt idx="5">
                  <c:v>Harry's</c:v>
                </c:pt>
                <c:pt idx="6">
                  <c:v>Gillette</c:v>
                </c:pt>
              </c:strCache>
            </c:strRef>
          </c:cat>
          <c:val>
            <c:numRef>
              <c:f>Sheet1!$D$2:$D$8</c:f>
              <c:numCache>
                <c:formatCode>General</c:formatCode>
                <c:ptCount val="7"/>
                <c:pt idx="0">
                  <c:v>124054.03191489361</c:v>
                </c:pt>
                <c:pt idx="1">
                  <c:v>97097.864583333328</c:v>
                </c:pt>
                <c:pt idx="2">
                  <c:v>87304.186046511633</c:v>
                </c:pt>
                <c:pt idx="3">
                  <c:v>78380</c:v>
                </c:pt>
                <c:pt idx="4">
                  <c:v>67869.461538461532</c:v>
                </c:pt>
                <c:pt idx="5">
                  <c:v>59726.212765957447</c:v>
                </c:pt>
                <c:pt idx="6">
                  <c:v>72023.77272727272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Harry's</c:v>
                </c:pt>
                <c:pt idx="4">
                  <c:v>Gillette</c:v>
                </c:pt>
              </c:strCache>
            </c:strRef>
          </c:cat>
          <c:val>
            <c:numRef>
              <c:f>Sheet1!$B$2:$B$6</c:f>
              <c:numCache>
                <c:formatCode>General</c:formatCode>
                <c:ptCount val="5"/>
                <c:pt idx="0">
                  <c:v>0.98599999999999999</c:v>
                </c:pt>
                <c:pt idx="1">
                  <c:v>0.98799999999999999</c:v>
                </c:pt>
                <c:pt idx="2">
                  <c:v>0.98499999999999999</c:v>
                </c:pt>
                <c:pt idx="3">
                  <c:v>0.92100000000000004</c:v>
                </c:pt>
                <c:pt idx="4">
                  <c:v>0.8609999999999999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Harry's</c:v>
                </c:pt>
                <c:pt idx="4">
                  <c:v>Gillette</c:v>
                </c:pt>
              </c:strCache>
            </c:strRef>
          </c:cat>
          <c:val>
            <c:numRef>
              <c:f>Sheet1!$C$2:$C$6</c:f>
              <c:numCache>
                <c:formatCode>General</c:formatCode>
                <c:ptCount val="5"/>
                <c:pt idx="0">
                  <c:v>0.14143384146150964</c:v>
                </c:pt>
                <c:pt idx="1">
                  <c:v>0.27578671817783518</c:v>
                </c:pt>
                <c:pt idx="2">
                  <c:v>0.367747969073841</c:v>
                </c:pt>
                <c:pt idx="3">
                  <c:v>0.43678954484186555</c:v>
                </c:pt>
                <c:pt idx="4">
                  <c:v>0.5048882506701641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Harry's</c:v>
                </c:pt>
                <c:pt idx="4">
                  <c:v>Gillette</c:v>
                </c:pt>
              </c:strCache>
            </c:strRef>
          </c:cat>
          <c:val>
            <c:numRef>
              <c:f>Sheet1!$D$2:$D$6</c:f>
              <c:numCache>
                <c:formatCode>General</c:formatCode>
                <c:ptCount val="5"/>
                <c:pt idx="0">
                  <c:v>275709.87829614605</c:v>
                </c:pt>
                <c:pt idx="1">
                  <c:v>261376.13360323888</c:v>
                </c:pt>
                <c:pt idx="2">
                  <c:v>179450.4467005076</c:v>
                </c:pt>
                <c:pt idx="3">
                  <c:v>144087.71986970684</c:v>
                </c:pt>
                <c:pt idx="4">
                  <c:v>152023.8095238095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652175072660519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105878.96</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629704813211612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369409.1808510638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Harry's</c:v>
                </c:pt>
                <c:pt idx="2">
                  <c:v>Gillette</c:v>
                </c:pt>
                <c:pt idx="3">
                  <c:v>Gillette</c:v>
                </c:pt>
                <c:pt idx="4">
                  <c:v>Harry's</c:v>
                </c:pt>
                <c:pt idx="5">
                  <c:v>Gillette</c:v>
                </c:pt>
              </c:strCache>
            </c:strRef>
          </c:cat>
          <c:val>
            <c:numRef>
              <c:f>Sheet1!$B$2:$B$7</c:f>
              <c:numCache>
                <c:formatCode>General</c:formatCode>
                <c:ptCount val="6"/>
                <c:pt idx="0">
                  <c:v>0.99</c:v>
                </c:pt>
                <c:pt idx="1">
                  <c:v>0.99</c:v>
                </c:pt>
                <c:pt idx="2">
                  <c:v>0.99</c:v>
                </c:pt>
                <c:pt idx="3">
                  <c:v>0.88</c:v>
                </c:pt>
                <c:pt idx="4">
                  <c:v>0.9</c:v>
                </c:pt>
                <c:pt idx="5">
                  <c:v>0.8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Harry's</c:v>
                </c:pt>
                <c:pt idx="2">
                  <c:v>Gillette</c:v>
                </c:pt>
                <c:pt idx="3">
                  <c:v>Gillette</c:v>
                </c:pt>
                <c:pt idx="4">
                  <c:v>Harry's</c:v>
                </c:pt>
                <c:pt idx="5">
                  <c:v>Gillette</c:v>
                </c:pt>
              </c:strCache>
            </c:strRef>
          </c:cat>
          <c:val>
            <c:numRef>
              <c:f>Sheet1!$C$2:$C$7</c:f>
              <c:numCache>
                <c:formatCode>General</c:formatCode>
                <c:ptCount val="6"/>
                <c:pt idx="0">
                  <c:v>0.14603919761188924</c:v>
                </c:pt>
                <c:pt idx="1">
                  <c:v>0.25787842539589018</c:v>
                </c:pt>
                <c:pt idx="2">
                  <c:v>0.34751153330949658</c:v>
                </c:pt>
                <c:pt idx="3">
                  <c:v>0.43248198087436562</c:v>
                </c:pt>
                <c:pt idx="4">
                  <c:v>0.4996473188990268</c:v>
                </c:pt>
                <c:pt idx="5">
                  <c:v>0.563267948545858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Gillette</c:v>
                </c:pt>
                <c:pt idx="1">
                  <c:v>Harry's</c:v>
                </c:pt>
                <c:pt idx="2">
                  <c:v>Gillette</c:v>
                </c:pt>
                <c:pt idx="3">
                  <c:v>Gillette</c:v>
                </c:pt>
                <c:pt idx="4">
                  <c:v>Harry's</c:v>
                </c:pt>
                <c:pt idx="5">
                  <c:v>Gillette</c:v>
                </c:pt>
              </c:strCache>
            </c:strRef>
          </c:cat>
          <c:val>
            <c:numRef>
              <c:f>Sheet1!$D$2:$D$7</c:f>
              <c:numCache>
                <c:formatCode>General</c:formatCode>
                <c:ptCount val="6"/>
                <c:pt idx="0">
                  <c:v>18627.454545454544</c:v>
                </c:pt>
                <c:pt idx="1">
                  <c:v>14265.212121212122</c:v>
                </c:pt>
                <c:pt idx="2">
                  <c:v>11432.797979797981</c:v>
                </c:pt>
                <c:pt idx="3">
                  <c:v>12192.829545454546</c:v>
                </c:pt>
                <c:pt idx="4">
                  <c:v>9423.7111111111117</c:v>
                </c:pt>
                <c:pt idx="5">
                  <c:v>9234.172413793103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Gillette</c:v>
                </c:pt>
                <c:pt idx="4">
                  <c:v>Harry's</c:v>
                </c:pt>
              </c:strCache>
            </c:strRef>
          </c:cat>
          <c:val>
            <c:numRef>
              <c:f>Sheet1!$B$2:$B$6</c:f>
              <c:numCache>
                <c:formatCode>General</c:formatCode>
                <c:ptCount val="5"/>
                <c:pt idx="0">
                  <c:v>0.93</c:v>
                </c:pt>
                <c:pt idx="1">
                  <c:v>0.95</c:v>
                </c:pt>
                <c:pt idx="2">
                  <c:v>0.91</c:v>
                </c:pt>
                <c:pt idx="3">
                  <c:v>0.55000000000000004</c:v>
                </c:pt>
                <c:pt idx="4">
                  <c:v>0.6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Gillette</c:v>
                </c:pt>
                <c:pt idx="4">
                  <c:v>Harry's</c:v>
                </c:pt>
              </c:strCache>
            </c:strRef>
          </c:cat>
          <c:val>
            <c:numRef>
              <c:f>Sheet1!$C$2:$C$6</c:f>
              <c:numCache>
                <c:formatCode>General</c:formatCode>
                <c:ptCount val="5"/>
                <c:pt idx="0">
                  <c:v>0.16108026992741747</c:v>
                </c:pt>
                <c:pt idx="1">
                  <c:v>0.30315545610119499</c:v>
                </c:pt>
                <c:pt idx="2">
                  <c:v>0.40955877189211232</c:v>
                </c:pt>
                <c:pt idx="3">
                  <c:v>0.49073444901101904</c:v>
                </c:pt>
                <c:pt idx="4">
                  <c:v>0.55986653420206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Gillette</c:v>
                </c:pt>
                <c:pt idx="4">
                  <c:v>Harry's</c:v>
                </c:pt>
              </c:strCache>
            </c:strRef>
          </c:cat>
          <c:val>
            <c:numRef>
              <c:f>Sheet1!$D$2:$D$6</c:f>
              <c:numCache>
                <c:formatCode>General</c:formatCode>
                <c:ptCount val="5"/>
                <c:pt idx="0">
                  <c:v>17807.139784946237</c:v>
                </c:pt>
                <c:pt idx="1">
                  <c:v>15375.505263157895</c:v>
                </c:pt>
                <c:pt idx="2">
                  <c:v>12021.219780219781</c:v>
                </c:pt>
                <c:pt idx="3">
                  <c:v>15173.927272727271</c:v>
                </c:pt>
                <c:pt idx="4">
                  <c:v>10768.87878787878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4367573645225848E-4</c:v>
                </c:pt>
                <c:pt idx="9">
                  <c:v>9.384603025540387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9403014288510477</c:v>
                </c:pt>
                <c:pt idx="1">
                  <c:v>0.13740458015267176</c:v>
                </c:pt>
                <c:pt idx="2">
                  <c:v>0.12370326874143667</c:v>
                </c:pt>
                <c:pt idx="3">
                  <c:v>6.2438833431199846E-2</c:v>
                </c:pt>
                <c:pt idx="4">
                  <c:v>5.9307105108631818E-2</c:v>
                </c:pt>
                <c:pt idx="5">
                  <c:v>5.7545507927187309E-2</c:v>
                </c:pt>
                <c:pt idx="6">
                  <c:v>3.092581718535917E-2</c:v>
                </c:pt>
                <c:pt idx="7">
                  <c:v>3.0730084165198669E-2</c:v>
                </c:pt>
                <c:pt idx="8">
                  <c:v>3.9146604032100213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0.86249001391395586</c:v>
                </c:pt>
                <c:pt idx="1">
                  <c:v>0.64979786834248954</c:v>
                </c:pt>
                <c:pt idx="2">
                  <c:v>1.8310870402626198</c:v>
                </c:pt>
                <c:pt idx="3">
                  <c:v>1.3962864868610843</c:v>
                </c:pt>
                <c:pt idx="4">
                  <c:v>1.5317226035082607</c:v>
                </c:pt>
                <c:pt idx="5">
                  <c:v>1.9472427037155491</c:v>
                </c:pt>
                <c:pt idx="6">
                  <c:v>1.6344843950928507</c:v>
                </c:pt>
                <c:pt idx="7">
                  <c:v>1.9416378737783908</c:v>
                </c:pt>
                <c:pt idx="8">
                  <c:v>8.823246532507321</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c:f>
              <c:strCache>
                <c:ptCount val="5"/>
                <c:pt idx="0">
                  <c:v>Gillette</c:v>
                </c:pt>
                <c:pt idx="1">
                  <c:v>Harry's</c:v>
                </c:pt>
                <c:pt idx="2">
                  <c:v>Gillette</c:v>
                </c:pt>
                <c:pt idx="3">
                  <c:v>Harry's</c:v>
                </c:pt>
                <c:pt idx="4">
                  <c:v>Gillette</c:v>
                </c:pt>
              </c:strCache>
            </c:strRef>
          </c:cat>
          <c:val>
            <c:numRef>
              <c:f>Sheet1!$B$2:$B$6</c:f>
              <c:numCache>
                <c:formatCode>General</c:formatCode>
                <c:ptCount val="5"/>
                <c:pt idx="0">
                  <c:v>0.99</c:v>
                </c:pt>
                <c:pt idx="1">
                  <c:v>0.99</c:v>
                </c:pt>
                <c:pt idx="2">
                  <c:v>0.99</c:v>
                </c:pt>
                <c:pt idx="3">
                  <c:v>0.94</c:v>
                </c:pt>
                <c:pt idx="4">
                  <c:v>0.8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c:f>
              <c:strCache>
                <c:ptCount val="5"/>
                <c:pt idx="0">
                  <c:v>Gillette</c:v>
                </c:pt>
                <c:pt idx="1">
                  <c:v>Harry's</c:v>
                </c:pt>
                <c:pt idx="2">
                  <c:v>Gillette</c:v>
                </c:pt>
                <c:pt idx="3">
                  <c:v>Harry's</c:v>
                </c:pt>
                <c:pt idx="4">
                  <c:v>Gillette</c:v>
                </c:pt>
              </c:strCache>
            </c:strRef>
          </c:cat>
          <c:val>
            <c:numRef>
              <c:f>Sheet1!$C$2:$C$6</c:f>
              <c:numCache>
                <c:formatCode>General</c:formatCode>
                <c:ptCount val="5"/>
                <c:pt idx="0">
                  <c:v>0.13989729773451523</c:v>
                </c:pt>
                <c:pt idx="1">
                  <c:v>0.27546043823635602</c:v>
                </c:pt>
                <c:pt idx="2">
                  <c:v>0.36671832876351557</c:v>
                </c:pt>
                <c:pt idx="3">
                  <c:v>0.43589434976170849</c:v>
                </c:pt>
                <c:pt idx="4">
                  <c:v>0.501940544789032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Gillette</c:v>
                </c:pt>
                <c:pt idx="1">
                  <c:v>Harry's</c:v>
                </c:pt>
                <c:pt idx="2">
                  <c:v>Gillette</c:v>
                </c:pt>
                <c:pt idx="3">
                  <c:v>Harry's</c:v>
                </c:pt>
                <c:pt idx="4">
                  <c:v>Gillette</c:v>
                </c:pt>
              </c:strCache>
            </c:strRef>
          </c:cat>
          <c:val>
            <c:numRef>
              <c:f>Sheet1!$D$2:$D$6</c:f>
              <c:numCache>
                <c:formatCode>General</c:formatCode>
                <c:ptCount val="5"/>
                <c:pt idx="0">
                  <c:v>239240.52525252526</c:v>
                </c:pt>
                <c:pt idx="1">
                  <c:v>231828.61616161617</c:v>
                </c:pt>
                <c:pt idx="2">
                  <c:v>156061.52525252526</c:v>
                </c:pt>
                <c:pt idx="3">
                  <c:v>124591.47872340426</c:v>
                </c:pt>
                <c:pt idx="4">
                  <c:v>127064.9431818181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pt idx="17">
                  <c:v>HYDRO 5 DRY SKIN 5 BLADE RAZOR DRY 2CT</c:v>
                </c:pt>
              </c:strCache>
            </c:strRef>
          </c:cat>
          <c:val>
            <c:numRef>
              <c:f>Sheet1!$B$2:$B$19</c:f>
              <c:numCache>
                <c:formatCode>General</c:formatCode>
                <c:ptCount val="18"/>
                <c:pt idx="0">
                  <c:v>0.78500000000000003</c:v>
                </c:pt>
                <c:pt idx="1">
                  <c:v>0.93899999999999995</c:v>
                </c:pt>
                <c:pt idx="2">
                  <c:v>0.85699999999999998</c:v>
                </c:pt>
                <c:pt idx="3">
                  <c:v>0.85199999999999998</c:v>
                </c:pt>
                <c:pt idx="4">
                  <c:v>0.95</c:v>
                </c:pt>
                <c:pt idx="5">
                  <c:v>0.44800000000000001</c:v>
                </c:pt>
                <c:pt idx="6">
                  <c:v>0.70099999999999996</c:v>
                </c:pt>
                <c:pt idx="7">
                  <c:v>0.79300000000000004</c:v>
                </c:pt>
                <c:pt idx="8">
                  <c:v>0.75900000000000001</c:v>
                </c:pt>
                <c:pt idx="9">
                  <c:v>0.84399999999999997</c:v>
                </c:pt>
                <c:pt idx="10">
                  <c:v>0.89600000000000002</c:v>
                </c:pt>
                <c:pt idx="11">
                  <c:v>0.63400000000000001</c:v>
                </c:pt>
                <c:pt idx="12">
                  <c:v>5.6000000000000001E-2</c:v>
                </c:pt>
                <c:pt idx="13">
                  <c:v>4.5999999999999999E-2</c:v>
                </c:pt>
                <c:pt idx="14">
                  <c:v>0.11700000000000001</c:v>
                </c:pt>
                <c:pt idx="15">
                  <c:v>6.4000000000000001E-2</c:v>
                </c:pt>
                <c:pt idx="16">
                  <c:v>0.01</c:v>
                </c:pt>
                <c:pt idx="1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pt idx="17">
                  <c:v>HYDRO 5 DRY SKIN 5 BLADE RAZOR DRY 2CT</c:v>
                </c:pt>
              </c:strCache>
            </c:strRef>
          </c:cat>
          <c:val>
            <c:numRef>
              <c:f>Sheet1!$C$2:$C$19</c:f>
              <c:numCache>
                <c:formatCode>General</c:formatCode>
                <c:ptCount val="18"/>
                <c:pt idx="0">
                  <c:v>0.15903528895397778</c:v>
                </c:pt>
                <c:pt idx="1">
                  <c:v>0.30517666795545972</c:v>
                </c:pt>
                <c:pt idx="2">
                  <c:v>0.43541983425896147</c:v>
                </c:pt>
                <c:pt idx="3">
                  <c:v>0.55898190793826086</c:v>
                </c:pt>
                <c:pt idx="4">
                  <c:v>0.67889356552447166</c:v>
                </c:pt>
                <c:pt idx="5">
                  <c:v>0.7796667348063463</c:v>
                </c:pt>
                <c:pt idx="6">
                  <c:v>0.86863978103423489</c:v>
                </c:pt>
                <c:pt idx="7">
                  <c:v>0.90896914728844636</c:v>
                </c:pt>
                <c:pt idx="8">
                  <c:v>0.94254327239656854</c:v>
                </c:pt>
                <c:pt idx="9">
                  <c:v>0.95954030402847601</c:v>
                </c:pt>
                <c:pt idx="10">
                  <c:v>0.97547930581354614</c:v>
                </c:pt>
                <c:pt idx="11">
                  <c:v>0.98910650172720183</c:v>
                </c:pt>
                <c:pt idx="12">
                  <c:v>0.99265660271423262</c:v>
                </c:pt>
                <c:pt idx="13">
                  <c:v>0.99565033818534032</c:v>
                </c:pt>
                <c:pt idx="14">
                  <c:v>0.9982910911720162</c:v>
                </c:pt>
                <c:pt idx="15">
                  <c:v>0.99956987937263908</c:v>
                </c:pt>
                <c:pt idx="16">
                  <c:v>0.99973694294849935</c:v>
                </c:pt>
                <c:pt idx="17">
                  <c:v>0.9998258915745552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pt idx="17">
                  <c:v>HYDRO 5 DRY SKIN 5 BLADE RAZOR DRY 2CT</c:v>
                </c:pt>
              </c:strCache>
            </c:strRef>
          </c:cat>
          <c:val>
            <c:numRef>
              <c:f>Sheet1!$D$2:$D$19</c:f>
              <c:numCache>
                <c:formatCode>General</c:formatCode>
                <c:ptCount val="18"/>
                <c:pt idx="0">
                  <c:v>68443.006369426745</c:v>
                </c:pt>
                <c:pt idx="1">
                  <c:v>52579.062832800853</c:v>
                </c:pt>
                <c:pt idx="2">
                  <c:v>51342.777129521586</c:v>
                </c:pt>
                <c:pt idx="3">
                  <c:v>48994.894366197179</c:v>
                </c:pt>
                <c:pt idx="4">
                  <c:v>42642.536842105263</c:v>
                </c:pt>
                <c:pt idx="5">
                  <c:v>75992.745535714275</c:v>
                </c:pt>
                <c:pt idx="6">
                  <c:v>42879.101283880176</c:v>
                </c:pt>
                <c:pt idx="7">
                  <c:v>17181.197982345522</c:v>
                </c:pt>
                <c:pt idx="8">
                  <c:v>14944.044795783924</c:v>
                </c:pt>
                <c:pt idx="9">
                  <c:v>6803.5545023696686</c:v>
                </c:pt>
                <c:pt idx="10">
                  <c:v>6009.7767857142853</c:v>
                </c:pt>
                <c:pt idx="11">
                  <c:v>7261.4353312302837</c:v>
                </c:pt>
                <c:pt idx="12">
                  <c:v>21416.964285714283</c:v>
                </c:pt>
                <c:pt idx="13">
                  <c:v>21986.739130434784</c:v>
                </c:pt>
                <c:pt idx="14">
                  <c:v>7625.1282051282042</c:v>
                </c:pt>
                <c:pt idx="15">
                  <c:v>6750.3125</c:v>
                </c:pt>
                <c:pt idx="16">
                  <c:v>5644</c:v>
                </c:pt>
                <c:pt idx="17">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1628835221541</c:v>
                </c:pt>
                <c:pt idx="1">
                  <c:v>0.99946587106398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CREMO 5 BLADE RAZOR NORMAL 2CT</c:v>
                </c:pt>
                <c:pt idx="15">
                  <c:v>CREMO 5 BLADE REFILL NORMAL 4CT</c:v>
                </c:pt>
                <c:pt idx="16">
                  <c:v>HYDRO 5 SENSITIVE 5 BLADE REFILL SENSITIVE 4CT</c:v>
                </c:pt>
                <c:pt idx="17">
                  <c:v>HYDRO 5 DRY SKIN 5 BLADE RAZOR DRY 2CT</c:v>
                </c:pt>
              </c:strCache>
            </c:strRef>
          </c:cat>
          <c:val>
            <c:numRef>
              <c:f>Sheet1!$B$2:$B$19</c:f>
              <c:numCache>
                <c:formatCode>General</c:formatCode>
                <c:ptCount val="18"/>
                <c:pt idx="0">
                  <c:v>0.94</c:v>
                </c:pt>
                <c:pt idx="1">
                  <c:v>0.79</c:v>
                </c:pt>
                <c:pt idx="2">
                  <c:v>0.87</c:v>
                </c:pt>
                <c:pt idx="3">
                  <c:v>0.95</c:v>
                </c:pt>
                <c:pt idx="4">
                  <c:v>0.83</c:v>
                </c:pt>
                <c:pt idx="5">
                  <c:v>0.68</c:v>
                </c:pt>
                <c:pt idx="6">
                  <c:v>0.31</c:v>
                </c:pt>
                <c:pt idx="7">
                  <c:v>0.84</c:v>
                </c:pt>
                <c:pt idx="8">
                  <c:v>0.64</c:v>
                </c:pt>
                <c:pt idx="9">
                  <c:v>0.88</c:v>
                </c:pt>
                <c:pt idx="10">
                  <c:v>0.05</c:v>
                </c:pt>
                <c:pt idx="11">
                  <c:v>0.04</c:v>
                </c:pt>
                <c:pt idx="12">
                  <c:v>0.04</c:v>
                </c:pt>
                <c:pt idx="13">
                  <c:v>0.04</c:v>
                </c:pt>
                <c:pt idx="14">
                  <c:v>0.05</c:v>
                </c:pt>
                <c:pt idx="15">
                  <c:v>0.04</c:v>
                </c:pt>
                <c:pt idx="16">
                  <c:v>0.01</c:v>
                </c:pt>
                <c:pt idx="1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CREMO 5 BLADE RAZOR NORMAL 2CT</c:v>
                </c:pt>
                <c:pt idx="15">
                  <c:v>CREMO 5 BLADE REFILL NORMAL 4CT</c:v>
                </c:pt>
                <c:pt idx="16">
                  <c:v>HYDRO 5 SENSITIVE 5 BLADE REFILL SENSITIVE 4CT</c:v>
                </c:pt>
                <c:pt idx="17">
                  <c:v>HYDRO 5 DRY SKIN 5 BLADE RAZOR DRY 2CT</c:v>
                </c:pt>
              </c:strCache>
            </c:strRef>
          </c:cat>
          <c:val>
            <c:numRef>
              <c:f>Sheet1!$C$2:$C$19</c:f>
              <c:numCache>
                <c:formatCode>General</c:formatCode>
                <c:ptCount val="18"/>
                <c:pt idx="0">
                  <c:v>0.18527553428653218</c:v>
                </c:pt>
                <c:pt idx="1">
                  <c:v>0.34768241030230207</c:v>
                </c:pt>
                <c:pt idx="2">
                  <c:v>0.5024513726559805</c:v>
                </c:pt>
                <c:pt idx="3">
                  <c:v>0.63234504507144473</c:v>
                </c:pt>
                <c:pt idx="4">
                  <c:v>0.76087992444136865</c:v>
                </c:pt>
                <c:pt idx="5">
                  <c:v>0.86428975562914045</c:v>
                </c:pt>
                <c:pt idx="6">
                  <c:v>0.93801712692362305</c:v>
                </c:pt>
                <c:pt idx="7">
                  <c:v>0.95718178928789588</c:v>
                </c:pt>
                <c:pt idx="8">
                  <c:v>0.97376231039900452</c:v>
                </c:pt>
                <c:pt idx="9">
                  <c:v>0.9901579923765127</c:v>
                </c:pt>
                <c:pt idx="10">
                  <c:v>0.99241032484350655</c:v>
                </c:pt>
                <c:pt idx="11">
                  <c:v>0.99438449695578957</c:v>
                </c:pt>
                <c:pt idx="12">
                  <c:v>0.99628834003187339</c:v>
                </c:pt>
                <c:pt idx="13">
                  <c:v>0.99786443176618289</c:v>
                </c:pt>
                <c:pt idx="14">
                  <c:v>0.99892973633373816</c:v>
                </c:pt>
                <c:pt idx="15">
                  <c:v>0.99947163057419586</c:v>
                </c:pt>
                <c:pt idx="16">
                  <c:v>0.99967269948538062</c:v>
                </c:pt>
                <c:pt idx="17">
                  <c:v>0.9997682748422667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9</c:f>
              <c:strCache>
                <c:ptCount val="18"/>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CREMO 5 BLADE RAZOR NORMAL 2CT</c:v>
                </c:pt>
                <c:pt idx="15">
                  <c:v>CREMO 5 BLADE REFILL NORMAL 4CT</c:v>
                </c:pt>
                <c:pt idx="16">
                  <c:v>HYDRO 5 SENSITIVE 5 BLADE REFILL SENSITIVE 4CT</c:v>
                </c:pt>
                <c:pt idx="17">
                  <c:v>HYDRO 5 DRY SKIN 5 BLADE RAZOR DRY 2CT</c:v>
                </c:pt>
              </c:strCache>
            </c:strRef>
          </c:cat>
          <c:val>
            <c:numRef>
              <c:f>Sheet1!$D$2:$D$19</c:f>
              <c:numCache>
                <c:formatCode>General</c:formatCode>
                <c:ptCount val="18"/>
                <c:pt idx="0">
                  <c:v>4372</c:v>
                </c:pt>
                <c:pt idx="1">
                  <c:v>4560.0253164556962</c:v>
                </c:pt>
                <c:pt idx="2">
                  <c:v>3945.977011494253</c:v>
                </c:pt>
                <c:pt idx="3">
                  <c:v>3032.8736842105263</c:v>
                </c:pt>
                <c:pt idx="4">
                  <c:v>3435.0481927710844</c:v>
                </c:pt>
                <c:pt idx="5">
                  <c:v>3373.205882352941</c:v>
                </c:pt>
                <c:pt idx="6">
                  <c:v>5275.4193548387093</c:v>
                </c:pt>
                <c:pt idx="7">
                  <c:v>506.07142857142856</c:v>
                </c:pt>
                <c:pt idx="8">
                  <c:v>574.65625</c:v>
                </c:pt>
                <c:pt idx="9">
                  <c:v>413.27272727272725</c:v>
                </c:pt>
                <c:pt idx="10">
                  <c:v>999.2</c:v>
                </c:pt>
                <c:pt idx="11">
                  <c:v>1094.75</c:v>
                </c:pt>
                <c:pt idx="12">
                  <c:v>1055.75</c:v>
                </c:pt>
                <c:pt idx="13">
                  <c:v>874</c:v>
                </c:pt>
                <c:pt idx="14">
                  <c:v>472.6</c:v>
                </c:pt>
                <c:pt idx="15">
                  <c:v>300.5</c:v>
                </c:pt>
                <c:pt idx="16">
                  <c:v>446</c:v>
                </c:pt>
                <c:pt idx="17">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B$2:$B$11</c:f>
              <c:numCache>
                <c:formatCode>General</c:formatCode>
                <c:ptCount val="10"/>
                <c:pt idx="0">
                  <c:v>0.56000000000000005</c:v>
                </c:pt>
                <c:pt idx="1">
                  <c:v>0.77</c:v>
                </c:pt>
                <c:pt idx="2">
                  <c:v>0.65</c:v>
                </c:pt>
                <c:pt idx="3">
                  <c:v>0.61</c:v>
                </c:pt>
                <c:pt idx="4">
                  <c:v>0.81</c:v>
                </c:pt>
                <c:pt idx="5">
                  <c:v>0.3</c:v>
                </c:pt>
                <c:pt idx="6">
                  <c:v>0.71</c:v>
                </c:pt>
                <c:pt idx="7">
                  <c:v>0.61</c:v>
                </c:pt>
                <c:pt idx="8">
                  <c:v>0.24</c:v>
                </c:pt>
                <c:pt idx="9">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C$2:$C$11</c:f>
              <c:numCache>
                <c:formatCode>General</c:formatCode>
                <c:ptCount val="10"/>
                <c:pt idx="0">
                  <c:v>0.21606750726916477</c:v>
                </c:pt>
                <c:pt idx="1">
                  <c:v>0.39498162315023722</c:v>
                </c:pt>
                <c:pt idx="2">
                  <c:v>0.56765431564252455</c:v>
                </c:pt>
                <c:pt idx="3">
                  <c:v>0.72042742213532618</c:v>
                </c:pt>
                <c:pt idx="4">
                  <c:v>0.87257749507777116</c:v>
                </c:pt>
                <c:pt idx="5">
                  <c:v>0.94955804217514761</c:v>
                </c:pt>
                <c:pt idx="6">
                  <c:v>0.9696677699992452</c:v>
                </c:pt>
                <c:pt idx="7">
                  <c:v>0.98930124675349385</c:v>
                </c:pt>
                <c:pt idx="8">
                  <c:v>0.99872330921630326</c:v>
                </c:pt>
                <c:pt idx="9">
                  <c:v>0.9996488836347567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D$2:$D$11</c:f>
              <c:numCache>
                <c:formatCode>General</c:formatCode>
                <c:ptCount val="10"/>
                <c:pt idx="0">
                  <c:v>7307.5535714285706</c:v>
                </c:pt>
                <c:pt idx="1">
                  <c:v>4400.727272727273</c:v>
                </c:pt>
                <c:pt idx="2">
                  <c:v>5031.3076923076924</c:v>
                </c:pt>
                <c:pt idx="3">
                  <c:v>4743.377049180328</c:v>
                </c:pt>
                <c:pt idx="4">
                  <c:v>3557.6049382716051</c:v>
                </c:pt>
                <c:pt idx="5">
                  <c:v>4859.9333333333334</c:v>
                </c:pt>
                <c:pt idx="6">
                  <c:v>536.43661971830988</c:v>
                </c:pt>
                <c:pt idx="7">
                  <c:v>609.59016393442619</c:v>
                </c:pt>
                <c:pt idx="8">
                  <c:v>743.54166666666663</c:v>
                </c:pt>
                <c:pt idx="9">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strCache>
            </c:strRef>
          </c:cat>
          <c:val>
            <c:numRef>
              <c:f>Sheet1!$B$2:$B$18</c:f>
              <c:numCache>
                <c:formatCode>General</c:formatCode>
                <c:ptCount val="17"/>
                <c:pt idx="0">
                  <c:v>0.8</c:v>
                </c:pt>
                <c:pt idx="1">
                  <c:v>0.95</c:v>
                </c:pt>
                <c:pt idx="2">
                  <c:v>0.87</c:v>
                </c:pt>
                <c:pt idx="3">
                  <c:v>0.87</c:v>
                </c:pt>
                <c:pt idx="4">
                  <c:v>0.96</c:v>
                </c:pt>
                <c:pt idx="5">
                  <c:v>0.49</c:v>
                </c:pt>
                <c:pt idx="6">
                  <c:v>0.73</c:v>
                </c:pt>
                <c:pt idx="7">
                  <c:v>0.91</c:v>
                </c:pt>
                <c:pt idx="8">
                  <c:v>0.87</c:v>
                </c:pt>
                <c:pt idx="9">
                  <c:v>0.86</c:v>
                </c:pt>
                <c:pt idx="10">
                  <c:v>0.91</c:v>
                </c:pt>
                <c:pt idx="11">
                  <c:v>0.66</c:v>
                </c:pt>
                <c:pt idx="12">
                  <c:v>0.06</c:v>
                </c:pt>
                <c:pt idx="13">
                  <c:v>0.05</c:v>
                </c:pt>
                <c:pt idx="14">
                  <c:v>0.13</c:v>
                </c:pt>
                <c:pt idx="15">
                  <c:v>7.0000000000000007E-2</c:v>
                </c:pt>
                <c:pt idx="16">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strCache>
            </c:strRef>
          </c:cat>
          <c:val>
            <c:numRef>
              <c:f>Sheet1!$C$2:$C$18</c:f>
              <c:numCache>
                <c:formatCode>General</c:formatCode>
                <c:ptCount val="17"/>
                <c:pt idx="0">
                  <c:v>0.15514281375337269</c:v>
                </c:pt>
                <c:pt idx="1">
                  <c:v>0.29626672677384536</c:v>
                </c:pt>
                <c:pt idx="2">
                  <c:v>0.42196809983148104</c:v>
                </c:pt>
                <c:pt idx="3">
                  <c:v>0.54329385137399122</c:v>
                </c:pt>
                <c:pt idx="4">
                  <c:v>0.66040147290448514</c:v>
                </c:pt>
                <c:pt idx="5">
                  <c:v>0.76959815434652623</c:v>
                </c:pt>
                <c:pt idx="6">
                  <c:v>0.85825744498700129</c:v>
                </c:pt>
                <c:pt idx="7">
                  <c:v>0.90402792017994948</c:v>
                </c:pt>
                <c:pt idx="8">
                  <c:v>0.94213665112737022</c:v>
                </c:pt>
                <c:pt idx="9">
                  <c:v>0.95880335037306241</c:v>
                </c:pt>
                <c:pt idx="10">
                  <c:v>0.97444199038253687</c:v>
                </c:pt>
                <c:pt idx="11">
                  <c:v>0.98811682290331559</c:v>
                </c:pt>
                <c:pt idx="12">
                  <c:v>0.99198906477143911</c:v>
                </c:pt>
                <c:pt idx="13">
                  <c:v>0.99525503344259436</c:v>
                </c:pt>
                <c:pt idx="14">
                  <c:v>0.99818212407742091</c:v>
                </c:pt>
                <c:pt idx="15">
                  <c:v>0.99959533480037799</c:v>
                </c:pt>
                <c:pt idx="16">
                  <c:v>0.9997422437372608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8</c:f>
              <c:strCache>
                <c:ptCount val="17"/>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CREMO 5 BLADE RAZOR NORMAL 2CT</c:v>
                </c:pt>
                <c:pt idx="15">
                  <c:v>CREMO 5 BLADE REFILL NORMAL 4CT</c:v>
                </c:pt>
                <c:pt idx="16">
                  <c:v>HYDRO 5 SENSITIVE 5 BLADE REFILL SENSITIVE 4CT</c:v>
                </c:pt>
              </c:strCache>
            </c:strRef>
          </c:cat>
          <c:val>
            <c:numRef>
              <c:f>Sheet1!$D$2:$D$18</c:f>
              <c:numCache>
                <c:formatCode>General</c:formatCode>
                <c:ptCount val="17"/>
                <c:pt idx="0">
                  <c:v>57541.387499999997</c:v>
                </c:pt>
                <c:pt idx="1">
                  <c:v>44077.368421052633</c:v>
                </c:pt>
                <c:pt idx="2">
                  <c:v>42870.586206896551</c:v>
                </c:pt>
                <c:pt idx="3">
                  <c:v>41378.275862068964</c:v>
                </c:pt>
                <c:pt idx="4">
                  <c:v>36195.333333333336</c:v>
                </c:pt>
                <c:pt idx="5">
                  <c:v>66122.918367346938</c:v>
                </c:pt>
                <c:pt idx="6">
                  <c:v>36036.28767123288</c:v>
                </c:pt>
                <c:pt idx="7">
                  <c:v>14923.912087912087</c:v>
                </c:pt>
                <c:pt idx="8">
                  <c:v>12997.022988505747</c:v>
                </c:pt>
                <c:pt idx="9">
                  <c:v>5750.2906976744189</c:v>
                </c:pt>
                <c:pt idx="10">
                  <c:v>5099.131868131868</c:v>
                </c:pt>
                <c:pt idx="11">
                  <c:v>6147.757575757576</c:v>
                </c:pt>
                <c:pt idx="12">
                  <c:v>19149.166666666668</c:v>
                </c:pt>
                <c:pt idx="13">
                  <c:v>19381.2</c:v>
                </c:pt>
                <c:pt idx="14">
                  <c:v>6680.8461538461543</c:v>
                </c:pt>
                <c:pt idx="15">
                  <c:v>5990.2857142857138</c:v>
                </c:pt>
                <c:pt idx="16">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B$2:$B$11</c:f>
              <c:numCache>
                <c:formatCode>General</c:formatCode>
                <c:ptCount val="10"/>
                <c:pt idx="0">
                  <c:v>0.78500000000000003</c:v>
                </c:pt>
                <c:pt idx="1">
                  <c:v>0.85199999999999998</c:v>
                </c:pt>
                <c:pt idx="2">
                  <c:v>0.44800000000000001</c:v>
                </c:pt>
                <c:pt idx="3">
                  <c:v>0.79300000000000004</c:v>
                </c:pt>
                <c:pt idx="4">
                  <c:v>5.6000000000000001E-2</c:v>
                </c:pt>
                <c:pt idx="5">
                  <c:v>4.5999999999999999E-2</c:v>
                </c:pt>
                <c:pt idx="6">
                  <c:v>0.11700000000000001</c:v>
                </c:pt>
                <c:pt idx="7">
                  <c:v>6.4000000000000001E-2</c:v>
                </c:pt>
                <c:pt idx="8">
                  <c:v>0.01</c:v>
                </c:pt>
                <c:pt idx="9">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C$2:$C$11</c:f>
              <c:numCache>
                <c:formatCode>General</c:formatCode>
                <c:ptCount val="10"/>
                <c:pt idx="0">
                  <c:v>0.36599184348438218</c:v>
                </c:pt>
                <c:pt idx="1">
                  <c:v>0.65034829938849636</c:v>
                </c:pt>
                <c:pt idx="2">
                  <c:v>0.88226008602290884</c:v>
                </c:pt>
                <c:pt idx="3">
                  <c:v>0.97507105394718541</c:v>
                </c:pt>
                <c:pt idx="4">
                  <c:v>0.98324098914424174</c:v>
                </c:pt>
                <c:pt idx="5">
                  <c:v>0.99013054662033362</c:v>
                </c:pt>
                <c:pt idx="6">
                  <c:v>0.99620777677558592</c:v>
                </c:pt>
                <c:pt idx="7">
                  <c:v>0.99915068368668969</c:v>
                </c:pt>
                <c:pt idx="8">
                  <c:v>0.99953515122537473</c:v>
                </c:pt>
                <c:pt idx="9">
                  <c:v>0.999739850898257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D$2:$D$11</c:f>
              <c:numCache>
                <c:formatCode>General</c:formatCode>
                <c:ptCount val="10"/>
                <c:pt idx="0">
                  <c:v>68443.006369426745</c:v>
                </c:pt>
                <c:pt idx="1">
                  <c:v>48994.894366197179</c:v>
                </c:pt>
                <c:pt idx="2">
                  <c:v>75992.745535714275</c:v>
                </c:pt>
                <c:pt idx="3">
                  <c:v>17181.197982345522</c:v>
                </c:pt>
                <c:pt idx="4">
                  <c:v>21416.964285714283</c:v>
                </c:pt>
                <c:pt idx="5">
                  <c:v>21986.739130434784</c:v>
                </c:pt>
                <c:pt idx="6">
                  <c:v>7625.1282051282042</c:v>
                </c:pt>
                <c:pt idx="7">
                  <c:v>6750.3125</c:v>
                </c:pt>
                <c:pt idx="8">
                  <c:v>5644</c:v>
                </c:pt>
                <c:pt idx="9">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B$2:$B$11</c:f>
              <c:numCache>
                <c:formatCode>General</c:formatCode>
                <c:ptCount val="10"/>
                <c:pt idx="0">
                  <c:v>0.79</c:v>
                </c:pt>
                <c:pt idx="1">
                  <c:v>0.83</c:v>
                </c:pt>
                <c:pt idx="2">
                  <c:v>0.31</c:v>
                </c:pt>
                <c:pt idx="3">
                  <c:v>0.05</c:v>
                </c:pt>
                <c:pt idx="4">
                  <c:v>0.04</c:v>
                </c:pt>
                <c:pt idx="5">
                  <c:v>0.04</c:v>
                </c:pt>
                <c:pt idx="6">
                  <c:v>0.05</c:v>
                </c:pt>
                <c:pt idx="7">
                  <c:v>0.04</c:v>
                </c:pt>
                <c:pt idx="8">
                  <c:v>0.01</c:v>
                </c:pt>
                <c:pt idx="9">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C$2:$C$11</c:f>
              <c:numCache>
                <c:formatCode>General</c:formatCode>
                <c:ptCount val="10"/>
                <c:pt idx="0">
                  <c:v>0.43556989283714947</c:v>
                </c:pt>
                <c:pt idx="1">
                  <c:v>0.78029620619568862</c:v>
                </c:pt>
                <c:pt idx="2">
                  <c:v>0.97803058790243513</c:v>
                </c:pt>
                <c:pt idx="3">
                  <c:v>0.98407126940157852</c:v>
                </c:pt>
                <c:pt idx="4">
                  <c:v>0.98936593399019912</c:v>
                </c:pt>
                <c:pt idx="5">
                  <c:v>0.99447197841991941</c:v>
                </c:pt>
                <c:pt idx="6">
                  <c:v>0.99732909018582727</c:v>
                </c:pt>
                <c:pt idx="7">
                  <c:v>0.99878243269222644</c:v>
                </c:pt>
                <c:pt idx="8">
                  <c:v>0.9993216928901083</c:v>
                </c:pt>
                <c:pt idx="9">
                  <c:v>0.999578022849639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CREMO 5 BLADE RAZOR NORMAL 2CT</c:v>
                </c:pt>
                <c:pt idx="7">
                  <c:v>CREMO 5 BLADE REFILL NORMAL 4CT</c:v>
                </c:pt>
                <c:pt idx="8">
                  <c:v>HYDRO 5 SENSITIVE 5 BLADE REFILL SENSITIVE 4CT</c:v>
                </c:pt>
                <c:pt idx="9">
                  <c:v>HYDRO 5 DRY SKIN 5 BLADE RAZOR DRY 2CT</c:v>
                </c:pt>
              </c:strCache>
            </c:strRef>
          </c:cat>
          <c:val>
            <c:numRef>
              <c:f>Sheet1!$D$2:$D$11</c:f>
              <c:numCache>
                <c:formatCode>General</c:formatCode>
                <c:ptCount val="10"/>
                <c:pt idx="0">
                  <c:v>4560.0253164556962</c:v>
                </c:pt>
                <c:pt idx="1">
                  <c:v>3435.0481927710844</c:v>
                </c:pt>
                <c:pt idx="2">
                  <c:v>5275.4193548387093</c:v>
                </c:pt>
                <c:pt idx="3">
                  <c:v>999.2</c:v>
                </c:pt>
                <c:pt idx="4">
                  <c:v>1094.75</c:v>
                </c:pt>
                <c:pt idx="5">
                  <c:v>1055.75</c:v>
                </c:pt>
                <c:pt idx="6">
                  <c:v>472.6</c:v>
                </c:pt>
                <c:pt idx="7">
                  <c:v>300.5</c:v>
                </c:pt>
                <c:pt idx="8">
                  <c:v>446</c:v>
                </c:pt>
                <c:pt idx="9">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B$2:$B$4</c:f>
              <c:numCache>
                <c:formatCode>General</c:formatCode>
                <c:ptCount val="3"/>
                <c:pt idx="0">
                  <c:v>0.56000000000000005</c:v>
                </c:pt>
                <c:pt idx="1">
                  <c:v>0.6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C$2:$C$4</c:f>
              <c:numCache>
                <c:formatCode>General</c:formatCode>
                <c:ptCount val="3"/>
                <c:pt idx="0">
                  <c:v>0.58384945178019843</c:v>
                </c:pt>
                <c:pt idx="1">
                  <c:v>0.99666716602107264</c:v>
                </c:pt>
                <c:pt idx="2">
                  <c:v>0.9991682182321425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D$2:$D$4</c:f>
              <c:numCache>
                <c:formatCode>General</c:formatCode>
                <c:ptCount val="3"/>
                <c:pt idx="0">
                  <c:v>7307.5535714285706</c:v>
                </c:pt>
                <c:pt idx="1">
                  <c:v>4743.377049180328</c:v>
                </c:pt>
                <c:pt idx="2">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86964905514846</c:v>
                </c:pt>
                <c:pt idx="1">
                  <c:v>0.26535383725414563</c:v>
                </c:pt>
                <c:pt idx="2">
                  <c:v>0.13890763594292321</c:v>
                </c:pt>
                <c:pt idx="3">
                  <c:v>0.15860007713073654</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569241549891275</c:v>
                </c:pt>
                <c:pt idx="1">
                  <c:v>1.4379357271366044</c:v>
                </c:pt>
                <c:pt idx="2">
                  <c:v>0.90622150300723625</c:v>
                </c:pt>
                <c:pt idx="3">
                  <c:v>1.3431117601805669</c:v>
                </c:pt>
                <c:pt idx="4">
                  <c:v>8.6929592815811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strCache>
            </c:strRef>
          </c:cat>
          <c:val>
            <c:numRef>
              <c:f>Sheet1!$B$2:$B$10</c:f>
              <c:numCache>
                <c:formatCode>General</c:formatCode>
                <c:ptCount val="9"/>
                <c:pt idx="0">
                  <c:v>0.8</c:v>
                </c:pt>
                <c:pt idx="1">
                  <c:v>0.87</c:v>
                </c:pt>
                <c:pt idx="2">
                  <c:v>0.49</c:v>
                </c:pt>
                <c:pt idx="3">
                  <c:v>0.91</c:v>
                </c:pt>
                <c:pt idx="4">
                  <c:v>0.06</c:v>
                </c:pt>
                <c:pt idx="5">
                  <c:v>0.05</c:v>
                </c:pt>
                <c:pt idx="6">
                  <c:v>0.13</c:v>
                </c:pt>
                <c:pt idx="7">
                  <c:v>7.0000000000000007E-2</c:v>
                </c:pt>
                <c:pt idx="8">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strCache>
            </c:strRef>
          </c:cat>
          <c:val>
            <c:numRef>
              <c:f>Sheet1!$C$2:$C$10</c:f>
              <c:numCache>
                <c:formatCode>General</c:formatCode>
                <c:ptCount val="9"/>
                <c:pt idx="0">
                  <c:v>0.35000633740110598</c:v>
                </c:pt>
                <c:pt idx="1">
                  <c:v>0.62372047795637486</c:v>
                </c:pt>
                <c:pt idx="2">
                  <c:v>0.87007111195119802</c:v>
                </c:pt>
                <c:pt idx="3">
                  <c:v>0.97333052820014232</c:v>
                </c:pt>
                <c:pt idx="4">
                  <c:v>0.98206640942470003</c:v>
                </c:pt>
                <c:pt idx="5">
                  <c:v>0.98943452210103056</c:v>
                </c:pt>
                <c:pt idx="6">
                  <c:v>0.99603811686350119</c:v>
                </c:pt>
                <c:pt idx="7">
                  <c:v>0.99922635805335414</c:v>
                </c:pt>
                <c:pt idx="8">
                  <c:v>0.999557788544305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0</c:f>
              <c:strCache>
                <c:ptCount val="9"/>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CREMO 5 BLADE RAZOR NORMAL 2CT</c:v>
                </c:pt>
                <c:pt idx="7">
                  <c:v>CREMO 5 BLADE REFILL NORMAL 4CT</c:v>
                </c:pt>
                <c:pt idx="8">
                  <c:v>HYDRO 5 SENSITIVE 5 BLADE REFILL SENSITIVE 4CT</c:v>
                </c:pt>
              </c:strCache>
            </c:strRef>
          </c:cat>
          <c:val>
            <c:numRef>
              <c:f>Sheet1!$D$2:$D$10</c:f>
              <c:numCache>
                <c:formatCode>General</c:formatCode>
                <c:ptCount val="9"/>
                <c:pt idx="0">
                  <c:v>57541.387499999997</c:v>
                </c:pt>
                <c:pt idx="1">
                  <c:v>41378.275862068964</c:v>
                </c:pt>
                <c:pt idx="2">
                  <c:v>66122.918367346938</c:v>
                </c:pt>
                <c:pt idx="3">
                  <c:v>14923.912087912087</c:v>
                </c:pt>
                <c:pt idx="4">
                  <c:v>19149.166666666668</c:v>
                </c:pt>
                <c:pt idx="5">
                  <c:v>19381.2</c:v>
                </c:pt>
                <c:pt idx="6">
                  <c:v>6680.8461538461543</c:v>
                </c:pt>
                <c:pt idx="7">
                  <c:v>5990.2857142857138</c:v>
                </c:pt>
                <c:pt idx="8">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3899999999999995</c:v>
                </c:pt>
                <c:pt idx="1">
                  <c:v>0.85699999999999998</c:v>
                </c:pt>
                <c:pt idx="2">
                  <c:v>0.95</c:v>
                </c:pt>
                <c:pt idx="3">
                  <c:v>0.70099999999999996</c:v>
                </c:pt>
                <c:pt idx="4">
                  <c:v>0.75900000000000001</c:v>
                </c:pt>
                <c:pt idx="5">
                  <c:v>0.84399999999999997</c:v>
                </c:pt>
                <c:pt idx="6">
                  <c:v>0.89600000000000002</c:v>
                </c:pt>
                <c:pt idx="7">
                  <c:v>0.634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844338601145561</c:v>
                </c:pt>
                <c:pt idx="1">
                  <c:v>0.48877161429503269</c:v>
                </c:pt>
                <c:pt idx="2">
                  <c:v>0.70082910971877777</c:v>
                </c:pt>
                <c:pt idx="3">
                  <c:v>0.85817328895124634</c:v>
                </c:pt>
                <c:pt idx="4">
                  <c:v>0.91754737337963621</c:v>
                </c:pt>
                <c:pt idx="5">
                  <c:v>0.94760573492725397</c:v>
                </c:pt>
                <c:pt idx="6">
                  <c:v>0.97579302602250495</c:v>
                </c:pt>
                <c:pt idx="7">
                  <c:v>0.999892009334623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52579.062832800853</c:v>
                </c:pt>
                <c:pt idx="1">
                  <c:v>51342.777129521586</c:v>
                </c:pt>
                <c:pt idx="2">
                  <c:v>42642.536842105263</c:v>
                </c:pt>
                <c:pt idx="3">
                  <c:v>42879.101283880176</c:v>
                </c:pt>
                <c:pt idx="4">
                  <c:v>14944.044795783924</c:v>
                </c:pt>
                <c:pt idx="5">
                  <c:v>6803.5545023696686</c:v>
                </c:pt>
                <c:pt idx="6">
                  <c:v>6009.7767857142853</c:v>
                </c:pt>
                <c:pt idx="7">
                  <c:v>7261.43533123028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4676487873218</c:v>
                </c:pt>
                <c:pt idx="1">
                  <c:v>0.999498001575343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B$2:$B$9</c:f>
              <c:numCache>
                <c:formatCode>General</c:formatCode>
                <c:ptCount val="8"/>
                <c:pt idx="0">
                  <c:v>0.94</c:v>
                </c:pt>
                <c:pt idx="1">
                  <c:v>0.87</c:v>
                </c:pt>
                <c:pt idx="2">
                  <c:v>0.95</c:v>
                </c:pt>
                <c:pt idx="3">
                  <c:v>0.68</c:v>
                </c:pt>
                <c:pt idx="4">
                  <c:v>0.84</c:v>
                </c:pt>
                <c:pt idx="5">
                  <c:v>0.64</c:v>
                </c:pt>
                <c:pt idx="6">
                  <c:v>0.88</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C$2:$C$9</c:f>
              <c:numCache>
                <c:formatCode>General</c:formatCode>
                <c:ptCount val="8"/>
                <c:pt idx="0">
                  <c:v>0.2954296139850448</c:v>
                </c:pt>
                <c:pt idx="1">
                  <c:v>0.54221521890091628</c:v>
                </c:pt>
                <c:pt idx="2">
                  <c:v>0.74933613018893153</c:v>
                </c:pt>
                <c:pt idx="3">
                  <c:v>0.91422744531969991</c:v>
                </c:pt>
                <c:pt idx="4">
                  <c:v>0.94478630365052918</c:v>
                </c:pt>
                <c:pt idx="5">
                  <c:v>0.97122464031698974</c:v>
                </c:pt>
                <c:pt idx="6">
                  <c:v>0.99736824322867168</c:v>
                </c:pt>
                <c:pt idx="7">
                  <c:v>0.999881387635272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D$2:$D$9</c:f>
              <c:numCache>
                <c:formatCode>General</c:formatCode>
                <c:ptCount val="8"/>
                <c:pt idx="0">
                  <c:v>4372</c:v>
                </c:pt>
                <c:pt idx="1">
                  <c:v>3945.977011494253</c:v>
                </c:pt>
                <c:pt idx="2">
                  <c:v>3032.8736842105263</c:v>
                </c:pt>
                <c:pt idx="3">
                  <c:v>3373.205882352941</c:v>
                </c:pt>
                <c:pt idx="4">
                  <c:v>506.07142857142856</c:v>
                </c:pt>
                <c:pt idx="5">
                  <c:v>574.65625</c:v>
                </c:pt>
                <c:pt idx="6">
                  <c:v>413.27272727272725</c:v>
                </c:pt>
                <c:pt idx="7">
                  <c:v>87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B$2:$B$8</c:f>
              <c:numCache>
                <c:formatCode>General</c:formatCode>
                <c:ptCount val="7"/>
                <c:pt idx="0">
                  <c:v>0.77</c:v>
                </c:pt>
                <c:pt idx="1">
                  <c:v>0.65</c:v>
                </c:pt>
                <c:pt idx="2">
                  <c:v>0.81</c:v>
                </c:pt>
                <c:pt idx="3">
                  <c:v>0.3</c:v>
                </c:pt>
                <c:pt idx="4">
                  <c:v>0.71</c:v>
                </c:pt>
                <c:pt idx="5">
                  <c:v>0.61</c:v>
                </c:pt>
                <c:pt idx="6">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C$2:$C$8</c:f>
              <c:numCache>
                <c:formatCode>General</c:formatCode>
                <c:ptCount val="7"/>
                <c:pt idx="0">
                  <c:v>0.28402402573563312</c:v>
                </c:pt>
                <c:pt idx="1">
                  <c:v>0.55813986625919698</c:v>
                </c:pt>
                <c:pt idx="2">
                  <c:v>0.79967629294231446</c:v>
                </c:pt>
                <c:pt idx="3">
                  <c:v>0.92188199360632461</c:v>
                </c:pt>
                <c:pt idx="4">
                  <c:v>0.9538059467551343</c:v>
                </c:pt>
                <c:pt idx="5">
                  <c:v>0.98497385700898699</c:v>
                </c:pt>
                <c:pt idx="6">
                  <c:v>0.99993126882773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D$2:$D$8</c:f>
              <c:numCache>
                <c:formatCode>General</c:formatCode>
                <c:ptCount val="7"/>
                <c:pt idx="0">
                  <c:v>4400.727272727273</c:v>
                </c:pt>
                <c:pt idx="1">
                  <c:v>5031.3076923076924</c:v>
                </c:pt>
                <c:pt idx="2">
                  <c:v>3557.6049382716051</c:v>
                </c:pt>
                <c:pt idx="3">
                  <c:v>4859.9333333333334</c:v>
                </c:pt>
                <c:pt idx="4">
                  <c:v>536.43661971830988</c:v>
                </c:pt>
                <c:pt idx="5">
                  <c:v>609.59016393442619</c:v>
                </c:pt>
                <c:pt idx="6">
                  <c:v>743.5416666666666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5</c:v>
                </c:pt>
                <c:pt idx="1">
                  <c:v>0.87</c:v>
                </c:pt>
                <c:pt idx="2">
                  <c:v>0.96</c:v>
                </c:pt>
                <c:pt idx="3">
                  <c:v>0.73</c:v>
                </c:pt>
                <c:pt idx="4">
                  <c:v>0.87</c:v>
                </c:pt>
                <c:pt idx="5">
                  <c:v>0.86</c:v>
                </c:pt>
                <c:pt idx="6">
                  <c:v>0.91</c:v>
                </c:pt>
                <c:pt idx="7">
                  <c:v>0.6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348132370479415</c:v>
                </c:pt>
                <c:pt idx="1">
                  <c:v>0.47926127660007223</c:v>
                </c:pt>
                <c:pt idx="2">
                  <c:v>0.68960546481120355</c:v>
                </c:pt>
                <c:pt idx="3">
                  <c:v>0.84885185948150654</c:v>
                </c:pt>
                <c:pt idx="4">
                  <c:v>0.91730129061271903</c:v>
                </c:pt>
                <c:pt idx="5">
                  <c:v>0.94723737228850757</c:v>
                </c:pt>
                <c:pt idx="6">
                  <c:v>0.97532689365806646</c:v>
                </c:pt>
                <c:pt idx="7">
                  <c:v>0.999889099839987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44077.368421052633</c:v>
                </c:pt>
                <c:pt idx="1">
                  <c:v>42870.586206896551</c:v>
                </c:pt>
                <c:pt idx="2">
                  <c:v>36195.333333333336</c:v>
                </c:pt>
                <c:pt idx="3">
                  <c:v>36036.28767123288</c:v>
                </c:pt>
                <c:pt idx="4">
                  <c:v>12997.022988505747</c:v>
                </c:pt>
                <c:pt idx="5">
                  <c:v>5750.2906976744189</c:v>
                </c:pt>
                <c:pt idx="6">
                  <c:v>5099.131868131868</c:v>
                </c:pt>
                <c:pt idx="7">
                  <c:v>6147.75757575757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HYDRO 5 SENSITIVE 5 BLADE RAZOR SENSITIVE 3CT</c:v>
                </c:pt>
                <c:pt idx="1">
                  <c:v>HYDRO 5 SENSITIVE GRAY HOLIDAY GIFT PACK 5 BLADE RAZOR SENSITIVE 3CT</c:v>
                </c:pt>
                <c:pt idx="2">
                  <c:v>SCHICK HYDRO 3 SENSITIVE 3 BLADE RAZOR SENSITIVE 4CT</c:v>
                </c:pt>
                <c:pt idx="3">
                  <c:v>CREMO 5 BLADE RAZOR NORMAL 2CT</c:v>
                </c:pt>
                <c:pt idx="4">
                  <c:v>HYDRO 5 DRY SKIN 5 BLADE RAZOR DRY 2CT</c:v>
                </c:pt>
              </c:strCache>
            </c:strRef>
          </c:cat>
          <c:val>
            <c:numRef>
              <c:f>Sheet1!$B$2:$B$6</c:f>
              <c:numCache>
                <c:formatCode>General</c:formatCode>
                <c:ptCount val="5"/>
                <c:pt idx="0">
                  <c:v>0.85199999999999998</c:v>
                </c:pt>
                <c:pt idx="1">
                  <c:v>0.79300000000000004</c:v>
                </c:pt>
                <c:pt idx="2">
                  <c:v>5.6000000000000001E-2</c:v>
                </c:pt>
                <c:pt idx="3">
                  <c:v>0.11700000000000001</c:v>
                </c:pt>
                <c:pt idx="4">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HYDRO 5 SENSITIVE 5 BLADE RAZOR SENSITIVE 3CT</c:v>
                </c:pt>
                <c:pt idx="1">
                  <c:v>HYDRO 5 SENSITIVE GRAY HOLIDAY GIFT PACK 5 BLADE RAZOR SENSITIVE 3CT</c:v>
                </c:pt>
                <c:pt idx="2">
                  <c:v>SCHICK HYDRO 3 SENSITIVE 3 BLADE RAZOR SENSITIVE 4CT</c:v>
                </c:pt>
                <c:pt idx="3">
                  <c:v>CREMO 5 BLADE RAZOR NORMAL 2CT</c:v>
                </c:pt>
                <c:pt idx="4">
                  <c:v>HYDRO 5 DRY SKIN 5 BLADE RAZOR DRY 2CT</c:v>
                </c:pt>
              </c:strCache>
            </c:strRef>
          </c:cat>
          <c:val>
            <c:numRef>
              <c:f>Sheet1!$C$2:$C$6</c:f>
              <c:numCache>
                <c:formatCode>General</c:formatCode>
                <c:ptCount val="5"/>
                <c:pt idx="0">
                  <c:v>0.72596995644561124</c:v>
                </c:pt>
                <c:pt idx="1">
                  <c:v>0.96291894403737566</c:v>
                </c:pt>
                <c:pt idx="2">
                  <c:v>0.98377701627741798</c:v>
                </c:pt>
                <c:pt idx="3">
                  <c:v>0.99929235422566609</c:v>
                </c:pt>
                <c:pt idx="4">
                  <c:v>0.999814958195160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HYDRO 5 SENSITIVE 5 BLADE RAZOR SENSITIVE 3CT</c:v>
                </c:pt>
                <c:pt idx="1">
                  <c:v>HYDRO 5 SENSITIVE GRAY HOLIDAY GIFT PACK 5 BLADE RAZOR SENSITIVE 3CT</c:v>
                </c:pt>
                <c:pt idx="2">
                  <c:v>SCHICK HYDRO 3 SENSITIVE 3 BLADE RAZOR SENSITIVE 4CT</c:v>
                </c:pt>
                <c:pt idx="3">
                  <c:v>CREMO 5 BLADE RAZOR NORMAL 2CT</c:v>
                </c:pt>
                <c:pt idx="4">
                  <c:v>HYDRO 5 DRY SKIN 5 BLADE RAZOR DRY 2CT</c:v>
                </c:pt>
              </c:strCache>
            </c:strRef>
          </c:cat>
          <c:val>
            <c:numRef>
              <c:f>Sheet1!$D$2:$D$6</c:f>
              <c:numCache>
                <c:formatCode>General</c:formatCode>
                <c:ptCount val="5"/>
                <c:pt idx="0">
                  <c:v>48994.894366197179</c:v>
                </c:pt>
                <c:pt idx="1">
                  <c:v>17181.197982345522</c:v>
                </c:pt>
                <c:pt idx="2">
                  <c:v>21416.964285714283</c:v>
                </c:pt>
                <c:pt idx="3">
                  <c:v>7625.1282051282042</c:v>
                </c:pt>
                <c:pt idx="4">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HYDRO 5 SENSITIVE 5 BLADE RAZOR SENSITIVE 3CT</c:v>
                </c:pt>
                <c:pt idx="1">
                  <c:v>SCHICK HYDRO 3 SENSITIVE 3 BLADE RAZOR SENSITIVE 4CT</c:v>
                </c:pt>
                <c:pt idx="2">
                  <c:v>HYDRO 5 SENSITIVE GRAY HOLIDAY GIFT PACK 5 BLADE RAZOR SENSITIVE 3CT</c:v>
                </c:pt>
                <c:pt idx="3">
                  <c:v>CREMO 5 BLADE RAZOR NORMAL 2CT</c:v>
                </c:pt>
                <c:pt idx="4">
                  <c:v>HYDRO 5 DRY SKIN 5 BLADE RAZOR DRY 2CT</c:v>
                </c:pt>
              </c:strCache>
            </c:strRef>
          </c:cat>
          <c:val>
            <c:numRef>
              <c:f>Sheet1!$B$2:$B$6</c:f>
              <c:numCache>
                <c:formatCode>General</c:formatCode>
                <c:ptCount val="5"/>
                <c:pt idx="0">
                  <c:v>0.83</c:v>
                </c:pt>
                <c:pt idx="1">
                  <c:v>0.05</c:v>
                </c:pt>
                <c:pt idx="2">
                  <c:v>0.04</c:v>
                </c:pt>
                <c:pt idx="3">
                  <c:v>0.05</c:v>
                </c:pt>
                <c:pt idx="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HYDRO 5 SENSITIVE 5 BLADE RAZOR SENSITIVE 3CT</c:v>
                </c:pt>
                <c:pt idx="1">
                  <c:v>SCHICK HYDRO 3 SENSITIVE 3 BLADE RAZOR SENSITIVE 4CT</c:v>
                </c:pt>
                <c:pt idx="2">
                  <c:v>HYDRO 5 SENSITIVE GRAY HOLIDAY GIFT PACK 5 BLADE RAZOR SENSITIVE 3CT</c:v>
                </c:pt>
                <c:pt idx="3">
                  <c:v>CREMO 5 BLADE RAZOR NORMAL 2CT</c:v>
                </c:pt>
                <c:pt idx="4">
                  <c:v>HYDRO 5 DRY SKIN 5 BLADE RAZOR DRY 2CT</c:v>
                </c:pt>
              </c:strCache>
            </c:strRef>
          </c:cat>
          <c:val>
            <c:numRef>
              <c:f>Sheet1!$C$2:$C$6</c:f>
              <c:numCache>
                <c:formatCode>General</c:formatCode>
                <c:ptCount val="5"/>
                <c:pt idx="0">
                  <c:v>0.95890074631132516</c:v>
                </c:pt>
                <c:pt idx="1">
                  <c:v>0.97570368178011557</c:v>
                </c:pt>
                <c:pt idx="2">
                  <c:v>0.99043147489817673</c:v>
                </c:pt>
                <c:pt idx="3">
                  <c:v>0.99837890014092134</c:v>
                </c:pt>
                <c:pt idx="4">
                  <c:v>0.99909191501669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HYDRO 5 SENSITIVE 5 BLADE RAZOR SENSITIVE 3CT</c:v>
                </c:pt>
                <c:pt idx="1">
                  <c:v>SCHICK HYDRO 3 SENSITIVE 3 BLADE RAZOR SENSITIVE 4CT</c:v>
                </c:pt>
                <c:pt idx="2">
                  <c:v>HYDRO 5 SENSITIVE GRAY HOLIDAY GIFT PACK 5 BLADE RAZOR SENSITIVE 3CT</c:v>
                </c:pt>
                <c:pt idx="3">
                  <c:v>CREMO 5 BLADE RAZOR NORMAL 2CT</c:v>
                </c:pt>
                <c:pt idx="4">
                  <c:v>HYDRO 5 DRY SKIN 5 BLADE RAZOR DRY 2CT</c:v>
                </c:pt>
              </c:strCache>
            </c:strRef>
          </c:cat>
          <c:val>
            <c:numRef>
              <c:f>Sheet1!$D$2:$D$6</c:f>
              <c:numCache>
                <c:formatCode>General</c:formatCode>
                <c:ptCount val="5"/>
                <c:pt idx="0">
                  <c:v>3435.0481927710844</c:v>
                </c:pt>
                <c:pt idx="1">
                  <c:v>999.2</c:v>
                </c:pt>
                <c:pt idx="2">
                  <c:v>1094.75</c:v>
                </c:pt>
                <c:pt idx="3">
                  <c:v>472.6</c:v>
                </c:pt>
                <c:pt idx="4">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HYDRO 5 SENSITIVE 5 BLADE RAZOR SENSITIVE 3CT</c:v>
                </c:pt>
              </c:strCache>
            </c:strRef>
          </c:cat>
          <c:val>
            <c:numRef>
              <c:f>Sheet1!$B$2:$B$2</c:f>
              <c:numCache>
                <c:formatCode>General</c:formatCode>
                <c:ptCount val="1"/>
                <c:pt idx="0">
                  <c:v>0.6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HYDRO 5 SENSITIVE 5 BLADE RAZOR SENSITIVE 3CT</c:v>
                </c:pt>
              </c:strCache>
            </c:strRef>
          </c:cat>
          <c:val>
            <c:numRef>
              <c:f>Sheet1!$C$2:$C$2</c:f>
              <c:numCache>
                <c:formatCode>General</c:formatCode>
                <c:ptCount val="1"/>
                <c:pt idx="0">
                  <c:v>0.999233340700629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HYDRO 5 SENSITIVE 5 BLADE RAZOR SENSITIVE 3CT</c:v>
                </c:pt>
              </c:strCache>
            </c:strRef>
          </c:cat>
          <c:val>
            <c:numRef>
              <c:f>Sheet1!$D$2:$D$2</c:f>
              <c:numCache>
                <c:formatCode>General</c:formatCode>
                <c:ptCount val="1"/>
                <c:pt idx="0">
                  <c:v>4743.3770491803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CREMO 5 BLADE RAZOR NORMAL 2CT</c:v>
                </c:pt>
              </c:strCache>
            </c:strRef>
          </c:cat>
          <c:val>
            <c:numRef>
              <c:f>Sheet1!$B$2:$B$5</c:f>
              <c:numCache>
                <c:formatCode>General</c:formatCode>
                <c:ptCount val="4"/>
                <c:pt idx="0">
                  <c:v>0.87</c:v>
                </c:pt>
                <c:pt idx="1">
                  <c:v>0.91</c:v>
                </c:pt>
                <c:pt idx="2">
                  <c:v>0.06</c:v>
                </c:pt>
                <c:pt idx="3">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CREMO 5 BLADE RAZOR NORMAL 2CT</c:v>
                </c:pt>
              </c:strCache>
            </c:strRef>
          </c:cat>
          <c:val>
            <c:numRef>
              <c:f>Sheet1!$C$2:$C$5</c:f>
              <c:numCache>
                <c:formatCode>General</c:formatCode>
                <c:ptCount val="4"/>
                <c:pt idx="0">
                  <c:v>0.69723066613340101</c:v>
                </c:pt>
                <c:pt idx="1">
                  <c:v>0.96026286253269566</c:v>
                </c:pt>
                <c:pt idx="2">
                  <c:v>0.98251572923919583</c:v>
                </c:pt>
                <c:pt idx="3">
                  <c:v>0.9993370332674498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CREMO 5 BLADE RAZOR NORMAL 2CT</c:v>
                </c:pt>
              </c:strCache>
            </c:strRef>
          </c:cat>
          <c:val>
            <c:numRef>
              <c:f>Sheet1!$D$2:$D$5</c:f>
              <c:numCache>
                <c:formatCode>General</c:formatCode>
                <c:ptCount val="4"/>
                <c:pt idx="0">
                  <c:v>41378.275862068964</c:v>
                </c:pt>
                <c:pt idx="1">
                  <c:v>14923.912087912087</c:v>
                </c:pt>
                <c:pt idx="2">
                  <c:v>19149.166666666668</c:v>
                </c:pt>
                <c:pt idx="3">
                  <c:v>6680.8461538461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B$2:$B$6</c:f>
              <c:numCache>
                <c:formatCode>General</c:formatCode>
                <c:ptCount val="5"/>
                <c:pt idx="0">
                  <c:v>0.78500000000000003</c:v>
                </c:pt>
                <c:pt idx="1">
                  <c:v>0.44800000000000001</c:v>
                </c:pt>
                <c:pt idx="2">
                  <c:v>4.5999999999999999E-2</c:v>
                </c:pt>
                <c:pt idx="3">
                  <c:v>6.4000000000000001E-2</c:v>
                </c:pt>
                <c:pt idx="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C$2:$C$6</c:f>
              <c:numCache>
                <c:formatCode>General</c:formatCode>
                <c:ptCount val="5"/>
                <c:pt idx="0">
                  <c:v>0.60170282391031316</c:v>
                </c:pt>
                <c:pt idx="1">
                  <c:v>0.98297355275366405</c:v>
                </c:pt>
                <c:pt idx="2">
                  <c:v>0.99430021552677517</c:v>
                </c:pt>
                <c:pt idx="3">
                  <c:v>0.99913845285484792</c:v>
                </c:pt>
                <c:pt idx="4">
                  <c:v>0.999770530339215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D$2:$D$6</c:f>
              <c:numCache>
                <c:formatCode>General</c:formatCode>
                <c:ptCount val="5"/>
                <c:pt idx="0">
                  <c:v>68443.006369426745</c:v>
                </c:pt>
                <c:pt idx="1">
                  <c:v>75992.745535714275</c:v>
                </c:pt>
                <c:pt idx="2">
                  <c:v>21986.739130434784</c:v>
                </c:pt>
                <c:pt idx="3">
                  <c:v>6750.3125</c:v>
                </c:pt>
                <c:pt idx="4">
                  <c:v>564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B$2:$B$6</c:f>
              <c:numCache>
                <c:formatCode>General</c:formatCode>
                <c:ptCount val="5"/>
                <c:pt idx="0">
                  <c:v>0.79</c:v>
                </c:pt>
                <c:pt idx="1">
                  <c:v>0.31</c:v>
                </c:pt>
                <c:pt idx="2">
                  <c:v>0.04</c:v>
                </c:pt>
                <c:pt idx="3">
                  <c:v>0.04</c:v>
                </c:pt>
                <c:pt idx="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C$2:$C$6</c:f>
              <c:numCache>
                <c:formatCode>General</c:formatCode>
                <c:ptCount val="5"/>
                <c:pt idx="0">
                  <c:v>0.68005217781989591</c:v>
                </c:pt>
                <c:pt idx="1">
                  <c:v>0.9887734625571285</c:v>
                </c:pt>
                <c:pt idx="2">
                  <c:v>0.99674549343341001</c:v>
                </c:pt>
                <c:pt idx="3">
                  <c:v>0.99901458675883992</c:v>
                </c:pt>
                <c:pt idx="4">
                  <c:v>0.999856529872934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D$2:$D$6</c:f>
              <c:numCache>
                <c:formatCode>General</c:formatCode>
                <c:ptCount val="5"/>
                <c:pt idx="0">
                  <c:v>4560.0253164556962</c:v>
                </c:pt>
                <c:pt idx="1">
                  <c:v>5275.4193548387093</c:v>
                </c:pt>
                <c:pt idx="2">
                  <c:v>1055.75</c:v>
                </c:pt>
                <c:pt idx="3">
                  <c:v>300.5</c:v>
                </c:pt>
                <c:pt idx="4">
                  <c:v>4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HYDRO 5 SENSITIVE 5 BLADE REFILL SENSITIVE 6CT</c:v>
                </c:pt>
                <c:pt idx="1">
                  <c:v>HYDRO 5 SENSITIVE 5 BLADE REFILL SENSITIVE 4CT</c:v>
                </c:pt>
              </c:strCache>
            </c:strRef>
          </c:cat>
          <c:val>
            <c:numRef>
              <c:f>Sheet1!$B$2:$B$3</c:f>
              <c:numCache>
                <c:formatCode>General</c:formatCode>
                <c:ptCount val="2"/>
                <c:pt idx="0">
                  <c:v>0.56000000000000005</c:v>
                </c:pt>
                <c:pt idx="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HYDRO 5 SENSITIVE 5 BLADE REFILL SENSITIVE 6CT</c:v>
                </c:pt>
                <c:pt idx="1">
                  <c:v>HYDRO 5 SENSITIVE 5 BLADE REFILL SENSITIVE 4CT</c:v>
                </c:pt>
              </c:strCache>
            </c:strRef>
          </c:cat>
          <c:val>
            <c:numRef>
              <c:f>Sheet1!$C$2:$C$3</c:f>
              <c:numCache>
                <c:formatCode>General</c:formatCode>
                <c:ptCount val="2"/>
                <c:pt idx="0">
                  <c:v>0.99553833166689787</c:v>
                </c:pt>
                <c:pt idx="1">
                  <c:v>0.9998029470365424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HYDRO 5 SENSITIVE 5 BLADE REFILL SENSITIVE 6CT</c:v>
                </c:pt>
                <c:pt idx="1">
                  <c:v>HYDRO 5 SENSITIVE 5 BLADE REFILL SENSITIVE 4CT</c:v>
                </c:pt>
              </c:strCache>
            </c:strRef>
          </c:cat>
          <c:val>
            <c:numRef>
              <c:f>Sheet1!$D$2:$D$3</c:f>
              <c:numCache>
                <c:formatCode>General</c:formatCode>
                <c:ptCount val="2"/>
                <c:pt idx="0">
                  <c:v>7307.5535714285706</c:v>
                </c:pt>
                <c:pt idx="1">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B$2:$B$6</c:f>
              <c:numCache>
                <c:formatCode>General</c:formatCode>
                <c:ptCount val="5"/>
                <c:pt idx="0">
                  <c:v>0.8</c:v>
                </c:pt>
                <c:pt idx="1">
                  <c:v>0.49</c:v>
                </c:pt>
                <c:pt idx="2">
                  <c:v>0.05</c:v>
                </c:pt>
                <c:pt idx="3">
                  <c:v>7.0000000000000007E-2</c:v>
                </c:pt>
                <c:pt idx="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C$2:$C$6</c:f>
              <c:numCache>
                <c:formatCode>General</c:formatCode>
                <c:ptCount val="5"/>
                <c:pt idx="0">
                  <c:v>0.57624215106188259</c:v>
                </c:pt>
                <c:pt idx="1">
                  <c:v>0.98182800502872825</c:v>
                </c:pt>
                <c:pt idx="2">
                  <c:v>0.99395869137401383</c:v>
                </c:pt>
                <c:pt idx="3">
                  <c:v>0.99920773621984915</c:v>
                </c:pt>
                <c:pt idx="4">
                  <c:v>0.999753395536910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6</c:f>
              <c:strCache>
                <c:ptCount val="5"/>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strCache>
            </c:strRef>
          </c:cat>
          <c:val>
            <c:numRef>
              <c:f>Sheet1!$D$2:$D$6</c:f>
              <c:numCache>
                <c:formatCode>General</c:formatCode>
                <c:ptCount val="5"/>
                <c:pt idx="0">
                  <c:v>57541.387499999997</c:v>
                </c:pt>
                <c:pt idx="1">
                  <c:v>66122.918367346938</c:v>
                </c:pt>
                <c:pt idx="2">
                  <c:v>19381.2</c:v>
                </c:pt>
                <c:pt idx="3">
                  <c:v>5990.2857142857138</c:v>
                </c:pt>
                <c:pt idx="4">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B$2:$B$17</c:f>
              <c:numCache>
                <c:formatCode>General</c:formatCode>
                <c:ptCount val="16"/>
                <c:pt idx="0">
                  <c:v>0.78500000000000003</c:v>
                </c:pt>
                <c:pt idx="1">
                  <c:v>0.93899999999999995</c:v>
                </c:pt>
                <c:pt idx="2">
                  <c:v>0.85699999999999998</c:v>
                </c:pt>
                <c:pt idx="3">
                  <c:v>0.85199999999999998</c:v>
                </c:pt>
                <c:pt idx="4">
                  <c:v>0.95</c:v>
                </c:pt>
                <c:pt idx="5">
                  <c:v>0.44800000000000001</c:v>
                </c:pt>
                <c:pt idx="6">
                  <c:v>0.70099999999999996</c:v>
                </c:pt>
                <c:pt idx="7">
                  <c:v>0.79300000000000004</c:v>
                </c:pt>
                <c:pt idx="8">
                  <c:v>0.75900000000000001</c:v>
                </c:pt>
                <c:pt idx="9">
                  <c:v>0.84399999999999997</c:v>
                </c:pt>
                <c:pt idx="10">
                  <c:v>0.89600000000000002</c:v>
                </c:pt>
                <c:pt idx="11">
                  <c:v>0.63400000000000001</c:v>
                </c:pt>
                <c:pt idx="12">
                  <c:v>5.6000000000000001E-2</c:v>
                </c:pt>
                <c:pt idx="13">
                  <c:v>4.5999999999999999E-2</c:v>
                </c:pt>
                <c:pt idx="14">
                  <c:v>0.01</c:v>
                </c:pt>
                <c:pt idx="15">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C$2:$C$17</c:f>
              <c:numCache>
                <c:formatCode>General</c:formatCode>
                <c:ptCount val="16"/>
                <c:pt idx="0">
                  <c:v>0.15966382484115493</c:v>
                </c:pt>
                <c:pt idx="1">
                  <c:v>0.306382780693084</c:v>
                </c:pt>
                <c:pt idx="2">
                  <c:v>0.4371406912688775</c:v>
                </c:pt>
                <c:pt idx="3">
                  <c:v>0.56119110434827035</c:v>
                </c:pt>
                <c:pt idx="4">
                  <c:v>0.68157667423771617</c:v>
                </c:pt>
                <c:pt idx="5">
                  <c:v>0.78274811709632242</c:v>
                </c:pt>
                <c:pt idx="6">
                  <c:v>0.87207280070553383</c:v>
                </c:pt>
                <c:pt idx="7">
                  <c:v>0.9125615558234661</c:v>
                </c:pt>
                <c:pt idx="8">
                  <c:v>0.94626837187489921</c:v>
                </c:pt>
                <c:pt idx="9">
                  <c:v>0.96333257881378664</c:v>
                </c:pt>
                <c:pt idx="10">
                  <c:v>0.97933457438277471</c:v>
                </c:pt>
                <c:pt idx="11">
                  <c:v>0.9930156274103431</c:v>
                </c:pt>
                <c:pt idx="12">
                  <c:v>0.99657975903100326</c:v>
                </c:pt>
                <c:pt idx="13">
                  <c:v>0.99958532627977925</c:v>
                </c:pt>
                <c:pt idx="14">
                  <c:v>0.99975305012075144</c:v>
                </c:pt>
                <c:pt idx="15">
                  <c:v>0.999842350287675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7</c:f>
              <c:strCache>
                <c:ptCount val="16"/>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pt idx="15">
                  <c:v>HYDRO 5 DRY SKIN 5 BLADE RAZOR DRY 2CT</c:v>
                </c:pt>
              </c:strCache>
            </c:strRef>
          </c:cat>
          <c:val>
            <c:numRef>
              <c:f>Sheet1!$D$2:$D$17</c:f>
              <c:numCache>
                <c:formatCode>General</c:formatCode>
                <c:ptCount val="16"/>
                <c:pt idx="0">
                  <c:v>68443.006369426745</c:v>
                </c:pt>
                <c:pt idx="1">
                  <c:v>52579.062832800853</c:v>
                </c:pt>
                <c:pt idx="2">
                  <c:v>51342.777129521586</c:v>
                </c:pt>
                <c:pt idx="3">
                  <c:v>48994.894366197179</c:v>
                </c:pt>
                <c:pt idx="4">
                  <c:v>42642.536842105263</c:v>
                </c:pt>
                <c:pt idx="5">
                  <c:v>75992.745535714275</c:v>
                </c:pt>
                <c:pt idx="6">
                  <c:v>42879.101283880176</c:v>
                </c:pt>
                <c:pt idx="7">
                  <c:v>17181.197982345522</c:v>
                </c:pt>
                <c:pt idx="8">
                  <c:v>14944.044795783924</c:v>
                </c:pt>
                <c:pt idx="9">
                  <c:v>6803.5545023696686</c:v>
                </c:pt>
                <c:pt idx="10">
                  <c:v>6009.7767857142853</c:v>
                </c:pt>
                <c:pt idx="11">
                  <c:v>7261.4353312302837</c:v>
                </c:pt>
                <c:pt idx="12">
                  <c:v>21416.964285714283</c:v>
                </c:pt>
                <c:pt idx="13">
                  <c:v>21986.739130434784</c:v>
                </c:pt>
                <c:pt idx="14">
                  <c:v>5644</c:v>
                </c:pt>
                <c:pt idx="15">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B$2:$B$12</c:f>
              <c:numCache>
                <c:formatCode>General</c:formatCode>
                <c:ptCount val="11"/>
                <c:pt idx="0">
                  <c:v>0.98499999999999999</c:v>
                </c:pt>
                <c:pt idx="1">
                  <c:v>0.84499999999999997</c:v>
                </c:pt>
                <c:pt idx="2">
                  <c:v>0.98799999999999999</c:v>
                </c:pt>
                <c:pt idx="3">
                  <c:v>0.91100000000000003</c:v>
                </c:pt>
                <c:pt idx="4">
                  <c:v>0.95899999999999996</c:v>
                </c:pt>
                <c:pt idx="5">
                  <c:v>0.93799999999999994</c:v>
                </c:pt>
                <c:pt idx="6">
                  <c:v>0.751</c:v>
                </c:pt>
                <c:pt idx="7">
                  <c:v>0.58399999999999996</c:v>
                </c:pt>
                <c:pt idx="8">
                  <c:v>0.97799999999999998</c:v>
                </c:pt>
                <c:pt idx="9">
                  <c:v>0.68899999999999995</c:v>
                </c:pt>
                <c:pt idx="10">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C$2:$C$12</c:f>
              <c:numCache>
                <c:formatCode>General</c:formatCode>
                <c:ptCount val="11"/>
                <c:pt idx="0">
                  <c:v>0.25215031436131435</c:v>
                </c:pt>
                <c:pt idx="1">
                  <c:v>0.38414945411168927</c:v>
                </c:pt>
                <c:pt idx="2">
                  <c:v>0.49511018959342834</c:v>
                </c:pt>
                <c:pt idx="3">
                  <c:v>0.59930503008352864</c:v>
                </c:pt>
                <c:pt idx="4">
                  <c:v>0.70205562496227769</c:v>
                </c:pt>
                <c:pt idx="5">
                  <c:v>0.79580909199730177</c:v>
                </c:pt>
                <c:pt idx="6">
                  <c:v>0.86421118119965645</c:v>
                </c:pt>
                <c:pt idx="7">
                  <c:v>0.92904718135004172</c:v>
                </c:pt>
                <c:pt idx="8">
                  <c:v>0.97954772361556641</c:v>
                </c:pt>
                <c:pt idx="9">
                  <c:v>0.99986079282691254</c:v>
                </c:pt>
                <c:pt idx="10">
                  <c:v>0.9999564401395472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pt idx="10">
                  <c:v>EQUATE TB (TWIN BLADE) 2 BLADE DISPOSABLE NORMAL 2CT</c:v>
                </c:pt>
              </c:strCache>
            </c:strRef>
          </c:cat>
          <c:val>
            <c:numRef>
              <c:f>Sheet1!$D$2:$D$12</c:f>
              <c:numCache>
                <c:formatCode>General</c:formatCode>
                <c:ptCount val="11"/>
                <c:pt idx="0">
                  <c:v>88856.375634517768</c:v>
                </c:pt>
                <c:pt idx="1">
                  <c:v>54222.520710059172</c:v>
                </c:pt>
                <c:pt idx="2">
                  <c:v>38983.218623481785</c:v>
                </c:pt>
                <c:pt idx="3">
                  <c:v>39700.241492864981</c:v>
                </c:pt>
                <c:pt idx="4">
                  <c:v>37190.417101147032</c:v>
                </c:pt>
                <c:pt idx="5">
                  <c:v>34693.635394456294</c:v>
                </c:pt>
                <c:pt idx="6">
                  <c:v>31615.113182423436</c:v>
                </c:pt>
                <c:pt idx="7">
                  <c:v>38536.181506849316</c:v>
                </c:pt>
                <c:pt idx="8">
                  <c:v>17923.486707566462</c:v>
                </c:pt>
                <c:pt idx="9">
                  <c:v>10233.439767779391</c:v>
                </c:pt>
                <c:pt idx="10">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1700000000000001</c:v>
                </c:pt>
                <c:pt idx="1">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131193799616251</c:v>
                </c:pt>
                <c:pt idx="1">
                  <c:v>0.99639565070168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7625.1282051282042</c:v>
                </c:pt>
                <c:pt idx="1">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467648787323</c:v>
                </c:pt>
                <c:pt idx="1">
                  <c:v>0.9994980015753439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B$2:$B$17</c:f>
              <c:numCache>
                <c:formatCode>General</c:formatCode>
                <c:ptCount val="16"/>
                <c:pt idx="0">
                  <c:v>0.94</c:v>
                </c:pt>
                <c:pt idx="1">
                  <c:v>0.79</c:v>
                </c:pt>
                <c:pt idx="2">
                  <c:v>0.87</c:v>
                </c:pt>
                <c:pt idx="3">
                  <c:v>0.95</c:v>
                </c:pt>
                <c:pt idx="4">
                  <c:v>0.83</c:v>
                </c:pt>
                <c:pt idx="5">
                  <c:v>0.68</c:v>
                </c:pt>
                <c:pt idx="6">
                  <c:v>0.31</c:v>
                </c:pt>
                <c:pt idx="7">
                  <c:v>0.84</c:v>
                </c:pt>
                <c:pt idx="8">
                  <c:v>0.64</c:v>
                </c:pt>
                <c:pt idx="9">
                  <c:v>0.88</c:v>
                </c:pt>
                <c:pt idx="10">
                  <c:v>0.05</c:v>
                </c:pt>
                <c:pt idx="11">
                  <c:v>0.04</c:v>
                </c:pt>
                <c:pt idx="12">
                  <c:v>0.04</c:v>
                </c:pt>
                <c:pt idx="13">
                  <c:v>0.04</c:v>
                </c:pt>
                <c:pt idx="14">
                  <c:v>0.01</c:v>
                </c:pt>
                <c:pt idx="15">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C$2:$C$17</c:f>
              <c:numCache>
                <c:formatCode>General</c:formatCode>
                <c:ptCount val="16"/>
                <c:pt idx="0">
                  <c:v>0.18557864857517783</c:v>
                </c:pt>
                <c:pt idx="1">
                  <c:v>0.34825122532085928</c:v>
                </c:pt>
                <c:pt idx="2">
                  <c:v>0.5032733926328119</c:v>
                </c:pt>
                <c:pt idx="3">
                  <c:v>0.63337957356034391</c:v>
                </c:pt>
                <c:pt idx="4">
                  <c:v>0.7621247384311377</c:v>
                </c:pt>
                <c:pt idx="5">
                  <c:v>0.86570375006434797</c:v>
                </c:pt>
                <c:pt idx="6">
                  <c:v>0.93955174073682723</c:v>
                </c:pt>
                <c:pt idx="7">
                  <c:v>0.95874775685226887</c:v>
                </c:pt>
                <c:pt idx="8">
                  <c:v>0.97535540401043663</c:v>
                </c:pt>
                <c:pt idx="9">
                  <c:v>0.99177790963467516</c:v>
                </c:pt>
                <c:pt idx="10">
                  <c:v>0.99403392696031023</c:v>
                </c:pt>
                <c:pt idx="11">
                  <c:v>0.99601132885561772</c:v>
                </c:pt>
                <c:pt idx="12">
                  <c:v>0.99791828665508864</c:v>
                </c:pt>
                <c:pt idx="13">
                  <c:v>0.99949695690537288</c:v>
                </c:pt>
                <c:pt idx="14">
                  <c:v>0.99969835476911051</c:v>
                </c:pt>
                <c:pt idx="15">
                  <c:v>0.99979408648909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7</c:f>
              <c:strCache>
                <c:ptCount val="16"/>
                <c:pt idx="0">
                  <c:v>SCHICK XTREME 2 SENSITIVE 2 BLADE DISPOSABLE NORMAL 12CT</c:v>
                </c:pt>
                <c:pt idx="1">
                  <c:v>HYDRO 5 SENSITIVE 5 BLADE REFILL SENSITIVE 6CT</c:v>
                </c:pt>
                <c:pt idx="2">
                  <c:v>SCHICK XTREME 3 SENSITIVE GREEN 3 BLADE DISPOSABLE SENSITIVE 8CT</c:v>
                </c:pt>
                <c:pt idx="3">
                  <c:v>SCHICK XTREME 3 SENSITIVE BLACK 3 BLADE DISPOSABLE SENSITIVE 4CT</c:v>
                </c:pt>
                <c:pt idx="4">
                  <c:v>HYDRO 5 SENSITIVE 5 BLADE RAZOR SENSITIVE 3CT</c:v>
                </c:pt>
                <c:pt idx="5">
                  <c:v>SCHICK XTREME 3 SENSITIVE BLACK GREEN 3 BLADE DISPOSABLE SENSITIVE 12CT</c:v>
                </c:pt>
                <c:pt idx="6">
                  <c:v>HYDRO 5 SENSITIVE 5 BLADE REFILL SENSITIVE 12CT</c:v>
                </c:pt>
                <c:pt idx="7">
                  <c:v>SCHICK XTREME 3 SENSITIVE GREEN BLACK 3 BLADE DISPOSABLE SENSITIVE 8CT</c:v>
                </c:pt>
                <c:pt idx="8">
                  <c:v>SCHICK XTREME 3 SENSITIVE GREEN BLACK 3 BLADE DISPOSABLE SENSITIVE 12CT</c:v>
                </c:pt>
                <c:pt idx="9">
                  <c:v>SCHICK XTREME 3 SENSITIVE GREEN BLACK 3 BLADE DISPOSABLE SENSITIVE 4CT</c:v>
                </c:pt>
                <c:pt idx="10">
                  <c:v>SCHICK HYDRO 3 SENSITIVE 3 BLADE RAZOR SENSITIVE 4CT</c:v>
                </c:pt>
                <c:pt idx="11">
                  <c:v>HYDRO 5 SENSITIVE GRAY HOLIDAY GIFT PACK 5 BLADE RAZOR SENSITIVE 3CT</c:v>
                </c:pt>
                <c:pt idx="12">
                  <c:v>SCHICK HYDRO 3 SENSITIVE 3 BLADE REFILL SENSITIVE 5CT</c:v>
                </c:pt>
                <c:pt idx="13">
                  <c:v>SCHICK XTREME 3 SENSITIVE GREEN HOLIDAY GIFT PACK 3 BLADE DISPOSABLE SENSITIVE 8CT</c:v>
                </c:pt>
                <c:pt idx="14">
                  <c:v>HYDRO 5 SENSITIVE 5 BLADE REFILL SENSITIVE 4CT</c:v>
                </c:pt>
                <c:pt idx="15">
                  <c:v>HYDRO 5 DRY SKIN 5 BLADE RAZOR DRY 2CT</c:v>
                </c:pt>
              </c:strCache>
            </c:strRef>
          </c:cat>
          <c:val>
            <c:numRef>
              <c:f>Sheet1!$D$2:$D$17</c:f>
              <c:numCache>
                <c:formatCode>General</c:formatCode>
                <c:ptCount val="16"/>
                <c:pt idx="0">
                  <c:v>4372</c:v>
                </c:pt>
                <c:pt idx="1">
                  <c:v>4560.0253164556962</c:v>
                </c:pt>
                <c:pt idx="2">
                  <c:v>3945.977011494253</c:v>
                </c:pt>
                <c:pt idx="3">
                  <c:v>3032.8736842105263</c:v>
                </c:pt>
                <c:pt idx="4">
                  <c:v>3435.0481927710844</c:v>
                </c:pt>
                <c:pt idx="5">
                  <c:v>3373.205882352941</c:v>
                </c:pt>
                <c:pt idx="6">
                  <c:v>5275.4193548387093</c:v>
                </c:pt>
                <c:pt idx="7">
                  <c:v>506.07142857142856</c:v>
                </c:pt>
                <c:pt idx="8">
                  <c:v>574.65625</c:v>
                </c:pt>
                <c:pt idx="9">
                  <c:v>413.27272727272725</c:v>
                </c:pt>
                <c:pt idx="10">
                  <c:v>999.2</c:v>
                </c:pt>
                <c:pt idx="11">
                  <c:v>1094.75</c:v>
                </c:pt>
                <c:pt idx="12">
                  <c:v>1055.75</c:v>
                </c:pt>
                <c:pt idx="13">
                  <c:v>874</c:v>
                </c:pt>
                <c:pt idx="14">
                  <c:v>446</c:v>
                </c:pt>
                <c:pt idx="15">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8</c:v>
                </c:pt>
                <c:pt idx="1">
                  <c:v>0.99</c:v>
                </c:pt>
                <c:pt idx="2">
                  <c:v>0.83</c:v>
                </c:pt>
                <c:pt idx="3">
                  <c:v>0.9</c:v>
                </c:pt>
                <c:pt idx="4">
                  <c:v>0.95</c:v>
                </c:pt>
                <c:pt idx="5">
                  <c:v>0.94</c:v>
                </c:pt>
                <c:pt idx="6">
                  <c:v>0.7</c:v>
                </c:pt>
                <c:pt idx="7">
                  <c:v>0.54</c:v>
                </c:pt>
                <c:pt idx="8">
                  <c:v>0.97</c:v>
                </c:pt>
                <c:pt idx="9">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8870138974388</c:v>
                </c:pt>
                <c:pt idx="1">
                  <c:v>0.38459715183326759</c:v>
                </c:pt>
                <c:pt idx="2">
                  <c:v>0.50351937793613022</c:v>
                </c:pt>
                <c:pt idx="3">
                  <c:v>0.61109240586585323</c:v>
                </c:pt>
                <c:pt idx="4">
                  <c:v>0.71019153891961295</c:v>
                </c:pt>
                <c:pt idx="5">
                  <c:v>0.80388262263172749</c:v>
                </c:pt>
                <c:pt idx="6">
                  <c:v>0.86815524125159871</c:v>
                </c:pt>
                <c:pt idx="7">
                  <c:v>0.92750935750832741</c:v>
                </c:pt>
                <c:pt idx="8">
                  <c:v>0.97905166081639194</c:v>
                </c:pt>
                <c:pt idx="9">
                  <c:v>0.999956447488653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TB (TWIN BLADE) BLUE 2 BLADE DISPOSABLE NORMAL 12CT</c:v>
                </c:pt>
                <c:pt idx="2">
                  <c:v>EQUATE EASY FIT 5 5 BLADE REFILL NORMAL 4CT</c:v>
                </c:pt>
                <c:pt idx="3">
                  <c:v>EQUATE SPEED 3 SENSITIVE GREEN 3 BLADE DISPOSABLE SENSITIVE 8CT</c:v>
                </c:pt>
                <c:pt idx="4">
                  <c:v>EQUATE CALIBER 3 3 BLADE DISPOSABLE NORMAL 3CT</c:v>
                </c:pt>
                <c:pt idx="5">
                  <c:v>EQUATE SPEED 3 SENSITIVE GREEN 3 BLADE DISPOSABLE SENSITIVE 4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6191.2653061224491</c:v>
                </c:pt>
                <c:pt idx="1">
                  <c:v>3147.9191919191921</c:v>
                </c:pt>
                <c:pt idx="2">
                  <c:v>3421.4096385542171</c:v>
                </c:pt>
                <c:pt idx="3">
                  <c:v>2854.1777777777779</c:v>
                </c:pt>
                <c:pt idx="4">
                  <c:v>2490.9578947368423</c:v>
                </c:pt>
                <c:pt idx="5">
                  <c:v>2380.0744680851062</c:v>
                </c:pt>
                <c:pt idx="6">
                  <c:v>2192.542857142857</c:v>
                </c:pt>
                <c:pt idx="7">
                  <c:v>2624.6851851851852</c:v>
                </c:pt>
                <c:pt idx="8">
                  <c:v>1268.8556701030927</c:v>
                </c:pt>
                <c:pt idx="9">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05</c:v>
                </c:pt>
                <c:pt idx="1">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5294280187897213</c:v>
                </c:pt>
                <c:pt idx="1">
                  <c:v>0.9850787510361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472.6</c:v>
                </c:pt>
                <c:pt idx="1">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B$2:$B$11</c:f>
              <c:numCache>
                <c:formatCode>General</c:formatCode>
                <c:ptCount val="10"/>
                <c:pt idx="0">
                  <c:v>0.56000000000000005</c:v>
                </c:pt>
                <c:pt idx="1">
                  <c:v>0.77</c:v>
                </c:pt>
                <c:pt idx="2">
                  <c:v>0.65</c:v>
                </c:pt>
                <c:pt idx="3">
                  <c:v>0.61</c:v>
                </c:pt>
                <c:pt idx="4">
                  <c:v>0.81</c:v>
                </c:pt>
                <c:pt idx="5">
                  <c:v>0.3</c:v>
                </c:pt>
                <c:pt idx="6">
                  <c:v>0.71</c:v>
                </c:pt>
                <c:pt idx="7">
                  <c:v>0.61</c:v>
                </c:pt>
                <c:pt idx="8">
                  <c:v>0.24</c:v>
                </c:pt>
                <c:pt idx="9">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C$2:$C$11</c:f>
              <c:numCache>
                <c:formatCode>General</c:formatCode>
                <c:ptCount val="10"/>
                <c:pt idx="0">
                  <c:v>0.21607526515517522</c:v>
                </c:pt>
                <c:pt idx="1">
                  <c:v>0.39499580493280761</c:v>
                </c:pt>
                <c:pt idx="2">
                  <c:v>0.56767469722386343</c:v>
                </c:pt>
                <c:pt idx="3">
                  <c:v>0.7204532890224411</c:v>
                </c:pt>
                <c:pt idx="4">
                  <c:v>0.8726088249006938</c:v>
                </c:pt>
                <c:pt idx="5">
                  <c:v>0.94959213597825842</c:v>
                </c:pt>
                <c:pt idx="6">
                  <c:v>0.96970258584047331</c:v>
                </c:pt>
                <c:pt idx="7">
                  <c:v>0.98933676753308397</c:v>
                </c:pt>
                <c:pt idx="8">
                  <c:v>0.99875916829426825</c:v>
                </c:pt>
                <c:pt idx="9">
                  <c:v>0.9996847759453949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SCHICK XTREME 3 SENSITIVE BLACK GREEN 3 BLADE DISPOSABLE SENSITIVE 12CT</c:v>
                </c:pt>
                <c:pt idx="6">
                  <c:v>SCHICK XTREME 3 SENSITIVE GREEN BLACK 3 BLADE DISPOSABLE SENSITIVE 4CT</c:v>
                </c:pt>
                <c:pt idx="7">
                  <c:v>SCHICK XTREME 3 SENSITIVE GREEN BLACK 3 BLADE DISPOSABLE SENSITIVE 8CT</c:v>
                </c:pt>
                <c:pt idx="8">
                  <c:v>SCHICK XTREME 3 SENSITIVE GREEN BLACK 3 BLADE DISPOSABLE SENSITIVE 12CT</c:v>
                </c:pt>
                <c:pt idx="9">
                  <c:v>HYDRO 5 SENSITIVE 5 BLADE REFILL SENSITIVE 4CT</c:v>
                </c:pt>
              </c:strCache>
            </c:strRef>
          </c:cat>
          <c:val>
            <c:numRef>
              <c:f>Sheet1!$D$2:$D$11</c:f>
              <c:numCache>
                <c:formatCode>General</c:formatCode>
                <c:ptCount val="10"/>
                <c:pt idx="0">
                  <c:v>7307.5535714285706</c:v>
                </c:pt>
                <c:pt idx="1">
                  <c:v>4400.727272727273</c:v>
                </c:pt>
                <c:pt idx="2">
                  <c:v>5031.3076923076924</c:v>
                </c:pt>
                <c:pt idx="3">
                  <c:v>4743.377049180328</c:v>
                </c:pt>
                <c:pt idx="4">
                  <c:v>3557.6049382716051</c:v>
                </c:pt>
                <c:pt idx="5">
                  <c:v>4859.9333333333334</c:v>
                </c:pt>
                <c:pt idx="6">
                  <c:v>536.43661971830988</c:v>
                </c:pt>
                <c:pt idx="7">
                  <c:v>609.59016393442619</c:v>
                </c:pt>
                <c:pt idx="8">
                  <c:v>743.54166666666663</c:v>
                </c:pt>
                <c:pt idx="9">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B$2:$B$12</c:f>
              <c:numCache>
                <c:formatCode>General</c:formatCode>
                <c:ptCount val="11"/>
                <c:pt idx="0">
                  <c:v>0.91</c:v>
                </c:pt>
                <c:pt idx="1">
                  <c:v>0.65</c:v>
                </c:pt>
                <c:pt idx="2">
                  <c:v>0.95</c:v>
                </c:pt>
                <c:pt idx="3">
                  <c:v>0.82</c:v>
                </c:pt>
                <c:pt idx="4">
                  <c:v>0.65</c:v>
                </c:pt>
                <c:pt idx="5">
                  <c:v>0.74</c:v>
                </c:pt>
                <c:pt idx="6">
                  <c:v>0.53</c:v>
                </c:pt>
                <c:pt idx="7">
                  <c:v>0.95</c:v>
                </c:pt>
                <c:pt idx="8">
                  <c:v>0.4</c:v>
                </c:pt>
                <c:pt idx="9">
                  <c:v>0.41</c:v>
                </c:pt>
                <c:pt idx="10">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C$2:$C$12</c:f>
              <c:numCache>
                <c:formatCode>General</c:formatCode>
                <c:ptCount val="11"/>
                <c:pt idx="0">
                  <c:v>0.2257091772971006</c:v>
                </c:pt>
                <c:pt idx="1">
                  <c:v>0.36274844804064865</c:v>
                </c:pt>
                <c:pt idx="2">
                  <c:v>0.48777824002214221</c:v>
                </c:pt>
                <c:pt idx="3">
                  <c:v>0.588039896909066</c:v>
                </c:pt>
                <c:pt idx="4">
                  <c:v>0.68463767397876518</c:v>
                </c:pt>
                <c:pt idx="5">
                  <c:v>0.77705474976016931</c:v>
                </c:pt>
                <c:pt idx="6">
                  <c:v>0.85182002311601501</c:v>
                </c:pt>
                <c:pt idx="7">
                  <c:v>0.92190357734425532</c:v>
                </c:pt>
                <c:pt idx="8">
                  <c:v>0.97933995491266579</c:v>
                </c:pt>
                <c:pt idx="9">
                  <c:v>0.99944943563949618</c:v>
                </c:pt>
                <c:pt idx="10">
                  <c:v>0.999935504097411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2</c:f>
              <c:strCache>
                <c:ptCount val="11"/>
                <c:pt idx="0">
                  <c:v>EQUATE CALIBER 5 5 BLADE DISPOSABLE NORMAL 3CT</c:v>
                </c:pt>
                <c:pt idx="1">
                  <c:v>EQUATE EASY FIT 5 5 BLADE REFILL NORMAL 4CT</c:v>
                </c:pt>
                <c:pt idx="2">
                  <c:v>EQUATE TB (TWIN BLADE) BLUE 2 BLADE DISPOSABLE NORMAL 12CT</c:v>
                </c:pt>
                <c:pt idx="3">
                  <c:v>EQUATE SPEED 3 SENSITIVE GREEN 3 BLADE DISPOSABLE SENSITIVE 4CT</c:v>
                </c:pt>
                <c:pt idx="4">
                  <c:v>EQUATE SPEED 3 SENSITIVE GREEN 3 BLADE DISPOSABLE SENSITIVE 8CT</c:v>
                </c:pt>
                <c:pt idx="5">
                  <c:v>EQUATE CALIBER 3 3 BLADE DISPOSABLE NORMAL 3CT</c:v>
                </c:pt>
                <c:pt idx="6">
                  <c:v>EQUATE EASY FIT 5 5 BLADE RAZOR NORMAL 2CT</c:v>
                </c:pt>
                <c:pt idx="7">
                  <c:v>EQUATE TB (TWIN BLADE) BLUE 2 BLADE DISPOSABLE NORMAL 5CT</c:v>
                </c:pt>
                <c:pt idx="8">
                  <c:v>EQUATE EASY FIT 5 5 BLADE REFILL NORMAL 8CT</c:v>
                </c:pt>
                <c:pt idx="9">
                  <c:v>EQUATE EASY FIT 5 5 BLADE REFILL NORMAL 12CT</c:v>
                </c:pt>
                <c:pt idx="10">
                  <c:v>EQUATE TB (TWIN BLADE) 2 BLADE DISPOSABLE NORMAL 2CT</c:v>
                </c:pt>
              </c:strCache>
            </c:strRef>
          </c:cat>
          <c:val>
            <c:numRef>
              <c:f>Sheet1!$D$2:$D$12</c:f>
              <c:numCache>
                <c:formatCode>General</c:formatCode>
                <c:ptCount val="11"/>
                <c:pt idx="0">
                  <c:v>5807.0109890109889</c:v>
                </c:pt>
                <c:pt idx="1">
                  <c:v>4936.0153846153844</c:v>
                </c:pt>
                <c:pt idx="2">
                  <c:v>3081.3052631578948</c:v>
                </c:pt>
                <c:pt idx="3">
                  <c:v>2862.6341463414633</c:v>
                </c:pt>
                <c:pt idx="4">
                  <c:v>3479.353846153846</c:v>
                </c:pt>
                <c:pt idx="5">
                  <c:v>2923.9189189189187</c:v>
                </c:pt>
                <c:pt idx="6">
                  <c:v>3302.6981132075471</c:v>
                </c:pt>
                <c:pt idx="7">
                  <c:v>1727.1789473684209</c:v>
                </c:pt>
                <c:pt idx="8">
                  <c:v>3361.8</c:v>
                </c:pt>
                <c:pt idx="9">
                  <c:v>1148.3170731707316</c:v>
                </c:pt>
                <c:pt idx="10">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0.8</c:v>
                </c:pt>
                <c:pt idx="1">
                  <c:v>0.95</c:v>
                </c:pt>
                <c:pt idx="2">
                  <c:v>0.87</c:v>
                </c:pt>
                <c:pt idx="3">
                  <c:v>0.87</c:v>
                </c:pt>
                <c:pt idx="4">
                  <c:v>0.96</c:v>
                </c:pt>
                <c:pt idx="5">
                  <c:v>0.49</c:v>
                </c:pt>
                <c:pt idx="6">
                  <c:v>0.73</c:v>
                </c:pt>
                <c:pt idx="7">
                  <c:v>0.91</c:v>
                </c:pt>
                <c:pt idx="8">
                  <c:v>0.87</c:v>
                </c:pt>
                <c:pt idx="9">
                  <c:v>0.86</c:v>
                </c:pt>
                <c:pt idx="10">
                  <c:v>0.91</c:v>
                </c:pt>
                <c:pt idx="11">
                  <c:v>0.66</c:v>
                </c:pt>
                <c:pt idx="12">
                  <c:v>0.06</c:v>
                </c:pt>
                <c:pt idx="13">
                  <c:v>0.05</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C$2:$C$16</c:f>
              <c:numCache>
                <c:formatCode>General</c:formatCode>
                <c:ptCount val="15"/>
                <c:pt idx="0">
                  <c:v>0.15582185312235336</c:v>
                </c:pt>
                <c:pt idx="1">
                  <c:v>0.29756344665620027</c:v>
                </c:pt>
                <c:pt idx="2">
                  <c:v>0.42381499783021814</c:v>
                </c:pt>
                <c:pt idx="3">
                  <c:v>0.5456717759783144</c:v>
                </c:pt>
                <c:pt idx="4">
                  <c:v>0.66329196192286688</c:v>
                </c:pt>
                <c:pt idx="5">
                  <c:v>0.77296658265108764</c:v>
                </c:pt>
                <c:pt idx="6">
                  <c:v>0.86201392316196468</c:v>
                </c:pt>
                <c:pt idx="7">
                  <c:v>0.90798472960997423</c:v>
                </c:pt>
                <c:pt idx="8">
                  <c:v>0.94626025738148978</c:v>
                </c:pt>
                <c:pt idx="9">
                  <c:v>0.96299990454313755</c:v>
                </c:pt>
                <c:pt idx="10">
                  <c:v>0.97870699279063755</c:v>
                </c:pt>
                <c:pt idx="11">
                  <c:v>0.99244167822642526</c:v>
                </c:pt>
                <c:pt idx="12">
                  <c:v>0.99633086837988061</c:v>
                </c:pt>
                <c:pt idx="13">
                  <c:v>0.99961113175958161</c:v>
                </c:pt>
                <c:pt idx="14">
                  <c:v>0.99975868369725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6</c:f>
              <c:strCache>
                <c:ptCount val="15"/>
                <c:pt idx="0">
                  <c:v>HYDRO 5 SENSITIVE 5 BLADE REFILL SENSITIVE 6CT</c:v>
                </c:pt>
                <c:pt idx="1">
                  <c:v>SCHICK XTREME 2 SENSITIVE 2 BLADE DISPOSABLE NORMAL 12CT</c:v>
                </c:pt>
                <c:pt idx="2">
                  <c:v>SCHICK XTREME 3 SENSITIVE GREEN 3 BLADE DISPOSABLE SENSITIVE 8CT</c:v>
                </c:pt>
                <c:pt idx="3">
                  <c:v>HYDRO 5 SENSITIVE 5 BLADE RAZOR SENSITIVE 3CT</c:v>
                </c:pt>
                <c:pt idx="4">
                  <c:v>SCHICK XTREME 3 SENSITIVE BLACK 3 BLADE DISPOSABLE SENSITIVE 4CT</c:v>
                </c:pt>
                <c:pt idx="5">
                  <c:v>HYDRO 5 SENSITIVE 5 BLADE REFILL SENSITIVE 12CT</c:v>
                </c:pt>
                <c:pt idx="6">
                  <c:v>SCHICK XTREME 3 SENSITIVE BLACK GREEN 3 BLADE DISPOSABLE SENSITIVE 12CT</c:v>
                </c:pt>
                <c:pt idx="7">
                  <c:v>HYDRO 5 SENSITIVE GRAY HOLIDAY GIFT PACK 5 BLADE RAZOR SENSITIVE 3CT</c:v>
                </c:pt>
                <c:pt idx="8">
                  <c:v>SCHICK XTREME 3 SENSITIVE GREEN HOLIDAY GIFT PACK 3 BLADE DISPOSABLE SENSITIVE 8CT</c:v>
                </c:pt>
                <c:pt idx="9">
                  <c:v>SCHICK XTREME 3 SENSITIVE GREEN BLACK 3 BLADE DISPOSABLE SENSITIVE 8CT</c:v>
                </c:pt>
                <c:pt idx="10">
                  <c:v>SCHICK XTREME 3 SENSITIVE GREEN BLACK 3 BLADE DISPOSABLE SENSITIVE 4CT</c:v>
                </c:pt>
                <c:pt idx="11">
                  <c:v>SCHICK XTREME 3 SENSITIVE GREEN BLACK 3 BLADE DISPOSABLE SENSITIVE 12CT</c:v>
                </c:pt>
                <c:pt idx="12">
                  <c:v>SCHICK HYDRO 3 SENSITIVE 3 BLADE RAZOR SENSITIVE 4CT</c:v>
                </c:pt>
                <c:pt idx="13">
                  <c:v>SCHICK HYDRO 3 SENSITIVE 3 BLADE REFILL SENSITIVE 5CT</c:v>
                </c:pt>
                <c:pt idx="14">
                  <c:v>HYDRO 5 SENSITIVE 5 BLADE REFILL SENSITIVE 4CT</c:v>
                </c:pt>
              </c:strCache>
            </c:strRef>
          </c:cat>
          <c:val>
            <c:numRef>
              <c:f>Sheet1!$D$2:$D$16</c:f>
              <c:numCache>
                <c:formatCode>General</c:formatCode>
                <c:ptCount val="15"/>
                <c:pt idx="0">
                  <c:v>57541.387499999997</c:v>
                </c:pt>
                <c:pt idx="1">
                  <c:v>44077.368421052633</c:v>
                </c:pt>
                <c:pt idx="2">
                  <c:v>42870.586206896551</c:v>
                </c:pt>
                <c:pt idx="3">
                  <c:v>41378.275862068964</c:v>
                </c:pt>
                <c:pt idx="4">
                  <c:v>36195.333333333336</c:v>
                </c:pt>
                <c:pt idx="5">
                  <c:v>66122.918367346938</c:v>
                </c:pt>
                <c:pt idx="6">
                  <c:v>36036.28767123288</c:v>
                </c:pt>
                <c:pt idx="7">
                  <c:v>14923.912087912087</c:v>
                </c:pt>
                <c:pt idx="8">
                  <c:v>12997.022988505747</c:v>
                </c:pt>
                <c:pt idx="9">
                  <c:v>5750.2906976744189</c:v>
                </c:pt>
                <c:pt idx="10">
                  <c:v>5099.131868131868</c:v>
                </c:pt>
                <c:pt idx="11">
                  <c:v>6147.757575757576</c:v>
                </c:pt>
                <c:pt idx="12">
                  <c:v>19149.166666666668</c:v>
                </c:pt>
                <c:pt idx="13">
                  <c:v>19381.2</c:v>
                </c:pt>
                <c:pt idx="14">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B$2:$B$11</c:f>
              <c:numCache>
                <c:formatCode>General</c:formatCode>
                <c:ptCount val="10"/>
                <c:pt idx="0">
                  <c:v>0.99</c:v>
                </c:pt>
                <c:pt idx="1">
                  <c:v>0.86</c:v>
                </c:pt>
                <c:pt idx="2">
                  <c:v>0.99</c:v>
                </c:pt>
                <c:pt idx="3">
                  <c:v>0.93</c:v>
                </c:pt>
                <c:pt idx="4">
                  <c:v>0.97</c:v>
                </c:pt>
                <c:pt idx="5">
                  <c:v>0.95</c:v>
                </c:pt>
                <c:pt idx="6">
                  <c:v>0.77</c:v>
                </c:pt>
                <c:pt idx="7">
                  <c:v>0.6</c:v>
                </c:pt>
                <c:pt idx="8">
                  <c:v>0.98</c:v>
                </c:pt>
                <c:pt idx="9">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C$2:$C$11</c:f>
              <c:numCache>
                <c:formatCode>General</c:formatCode>
                <c:ptCount val="10"/>
                <c:pt idx="0">
                  <c:v>0.25406068548683652</c:v>
                </c:pt>
                <c:pt idx="1">
                  <c:v>0.38670777129741718</c:v>
                </c:pt>
                <c:pt idx="2">
                  <c:v>0.49501297441482556</c:v>
                </c:pt>
                <c:pt idx="3">
                  <c:v>0.59953200117178151</c:v>
                </c:pt>
                <c:pt idx="4">
                  <c:v>0.70319850786308014</c:v>
                </c:pt>
                <c:pt idx="5">
                  <c:v>0.79663057120278613</c:v>
                </c:pt>
                <c:pt idx="6">
                  <c:v>0.86486466293988218</c:v>
                </c:pt>
                <c:pt idx="7">
                  <c:v>0.93071510056851692</c:v>
                </c:pt>
                <c:pt idx="8">
                  <c:v>0.97960345742914712</c:v>
                </c:pt>
                <c:pt idx="9">
                  <c:v>0.9998852966938265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1</c:f>
              <c:strCache>
                <c:ptCount val="1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SPEED 3 SENSITIVE GREEN 3 BLADE DISPOSABLE SENSITIVE 4CT</c:v>
                </c:pt>
                <c:pt idx="5">
                  <c:v>EQUATE CALIBER 3 3 BLADE DISPOSABLE NORMAL 3CT</c:v>
                </c:pt>
                <c:pt idx="6">
                  <c:v>EQUATE EASY FIT 5 5 BLADE RAZOR NORMAL 2CT</c:v>
                </c:pt>
                <c:pt idx="7">
                  <c:v>EQUATE EASY FIT 5 5 BLADE REFILL NORMAL 8CT</c:v>
                </c:pt>
                <c:pt idx="8">
                  <c:v>EQUATE TB (TWIN BLADE) BLUE 2 BLADE DISPOSABLE NORMAL 5CT</c:v>
                </c:pt>
                <c:pt idx="9">
                  <c:v>EQUATE EASY FIT 5 5 BLADE REFILL NORMAL 12CT</c:v>
                </c:pt>
              </c:strCache>
            </c:strRef>
          </c:cat>
          <c:val>
            <c:numRef>
              <c:f>Sheet1!$D$2:$D$11</c:f>
              <c:numCache>
                <c:formatCode>General</c:formatCode>
                <c:ptCount val="10"/>
                <c:pt idx="0">
                  <c:v>76941.121212121216</c:v>
                </c:pt>
                <c:pt idx="1">
                  <c:v>46244.011627906977</c:v>
                </c:pt>
                <c:pt idx="2">
                  <c:v>32799.737373737371</c:v>
                </c:pt>
                <c:pt idx="3">
                  <c:v>33695.247311827959</c:v>
                </c:pt>
                <c:pt idx="4">
                  <c:v>32042.247422680412</c:v>
                </c:pt>
                <c:pt idx="5">
                  <c:v>29486.863157894735</c:v>
                </c:pt>
                <c:pt idx="6">
                  <c:v>26568.493506493505</c:v>
                </c:pt>
                <c:pt idx="7">
                  <c:v>32905.133333333331</c:v>
                </c:pt>
                <c:pt idx="8">
                  <c:v>14956.693877551021</c:v>
                </c:pt>
                <c:pt idx="9">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3</c:v>
                </c:pt>
                <c:pt idx="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217974119249579</c:v>
                </c:pt>
                <c:pt idx="1">
                  <c:v>0.996710729985759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6680.8461538461543</c:v>
                </c:pt>
                <c:pt idx="1">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B$2:$B$9</c:f>
              <c:numCache>
                <c:formatCode>General</c:formatCode>
                <c:ptCount val="8"/>
                <c:pt idx="0">
                  <c:v>0.78500000000000003</c:v>
                </c:pt>
                <c:pt idx="1">
                  <c:v>0.85199999999999998</c:v>
                </c:pt>
                <c:pt idx="2">
                  <c:v>0.44800000000000001</c:v>
                </c:pt>
                <c:pt idx="3">
                  <c:v>0.79300000000000004</c:v>
                </c:pt>
                <c:pt idx="4">
                  <c:v>5.6000000000000001E-2</c:v>
                </c:pt>
                <c:pt idx="5">
                  <c:v>4.5999999999999999E-2</c:v>
                </c:pt>
                <c:pt idx="6">
                  <c:v>0.01</c:v>
                </c:pt>
                <c:pt idx="7">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C$2:$C$9</c:f>
              <c:numCache>
                <c:formatCode>General</c:formatCode>
                <c:ptCount val="8"/>
                <c:pt idx="0">
                  <c:v>0.36933755897497095</c:v>
                </c:pt>
                <c:pt idx="1">
                  <c:v>0.65629346023915069</c:v>
                </c:pt>
                <c:pt idx="2">
                  <c:v>0.89032526913855659</c:v>
                </c:pt>
                <c:pt idx="3">
                  <c:v>0.98398466879323598</c:v>
                </c:pt>
                <c:pt idx="4">
                  <c:v>0.99222928947641043</c:v>
                </c:pt>
                <c:pt idx="5">
                  <c:v>0.99918182786199905</c:v>
                </c:pt>
                <c:pt idx="6">
                  <c:v>0.99956981001179546</c:v>
                </c:pt>
                <c:pt idx="7">
                  <c:v>0.9997763809473266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pt idx="7">
                  <c:v>HYDRO 5 DRY SKIN 5 BLADE RAZOR DRY 2CT</c:v>
                </c:pt>
              </c:strCache>
            </c:strRef>
          </c:cat>
          <c:val>
            <c:numRef>
              <c:f>Sheet1!$D$2:$D$9</c:f>
              <c:numCache>
                <c:formatCode>General</c:formatCode>
                <c:ptCount val="8"/>
                <c:pt idx="0">
                  <c:v>68443.006369426745</c:v>
                </c:pt>
                <c:pt idx="1">
                  <c:v>48994.894366197179</c:v>
                </c:pt>
                <c:pt idx="2">
                  <c:v>75992.745535714275</c:v>
                </c:pt>
                <c:pt idx="3">
                  <c:v>17181.197982345522</c:v>
                </c:pt>
                <c:pt idx="4">
                  <c:v>21416.964285714283</c:v>
                </c:pt>
                <c:pt idx="5">
                  <c:v>21986.739130434784</c:v>
                </c:pt>
                <c:pt idx="6">
                  <c:v>5644</c:v>
                </c:pt>
                <c:pt idx="7">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4499999999999997</c:v>
                </c:pt>
                <c:pt idx="1">
                  <c:v>0.751</c:v>
                </c:pt>
                <c:pt idx="2">
                  <c:v>0.58399999999999996</c:v>
                </c:pt>
                <c:pt idx="3">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9921461088459</c:v>
                </c:pt>
                <c:pt idx="1">
                  <c:v>0.70171132027202943</c:v>
                </c:pt>
                <c:pt idx="2">
                  <c:v>0.92873665092714175</c:v>
                </c:pt>
                <c:pt idx="3">
                  <c:v>0.999863513220151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54222.520710059172</c:v>
                </c:pt>
                <c:pt idx="1">
                  <c:v>31615.113182423436</c:v>
                </c:pt>
                <c:pt idx="2">
                  <c:v>38536.181506849316</c:v>
                </c:pt>
                <c:pt idx="3">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1700000000000001</c:v>
                </c:pt>
                <c:pt idx="1">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13119379961624</c:v>
                </c:pt>
                <c:pt idx="1">
                  <c:v>0.9963956507016817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7625.1282051282042</c:v>
                </c:pt>
                <c:pt idx="1">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B$2:$B$9</c:f>
              <c:numCache>
                <c:formatCode>General</c:formatCode>
                <c:ptCount val="8"/>
                <c:pt idx="0">
                  <c:v>0.79</c:v>
                </c:pt>
                <c:pt idx="1">
                  <c:v>0.83</c:v>
                </c:pt>
                <c:pt idx="2">
                  <c:v>0.31</c:v>
                </c:pt>
                <c:pt idx="3">
                  <c:v>0.05</c:v>
                </c:pt>
                <c:pt idx="4">
                  <c:v>0.04</c:v>
                </c:pt>
                <c:pt idx="5">
                  <c:v>0.04</c:v>
                </c:pt>
                <c:pt idx="6">
                  <c:v>0.01</c:v>
                </c:pt>
                <c:pt idx="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C$2:$C$9</c:f>
              <c:numCache>
                <c:formatCode>General</c:formatCode>
                <c:ptCount val="8"/>
                <c:pt idx="0">
                  <c:v>0.43748633773602319</c:v>
                </c:pt>
                <c:pt idx="1">
                  <c:v>0.78372939730592295</c:v>
                </c:pt>
                <c:pt idx="2">
                  <c:v>0.98233378186039955</c:v>
                </c:pt>
                <c:pt idx="3">
                  <c:v>0.9884010414895632</c:v>
                </c:pt>
                <c:pt idx="4">
                  <c:v>0.99371900184106599</c:v>
                </c:pt>
                <c:pt idx="5">
                  <c:v>0.99884751213209044</c:v>
                </c:pt>
                <c:pt idx="6">
                  <c:v>0.99938914499730402</c:v>
                </c:pt>
                <c:pt idx="7">
                  <c:v>0.999646602771800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SENSITIVE GRAY HOLIDAY GIFT PACK 5 BLADE RAZOR SENSITIVE 3CT</c:v>
                </c:pt>
                <c:pt idx="5">
                  <c:v>SCHICK HYDRO 3 SENSITIVE 3 BLADE REFILL SENSITIVE 5CT</c:v>
                </c:pt>
                <c:pt idx="6">
                  <c:v>HYDRO 5 SENSITIVE 5 BLADE REFILL SENSITIVE 4CT</c:v>
                </c:pt>
                <c:pt idx="7">
                  <c:v>HYDRO 5 DRY SKIN 5 BLADE RAZOR DRY 2CT</c:v>
                </c:pt>
              </c:strCache>
            </c:strRef>
          </c:cat>
          <c:val>
            <c:numRef>
              <c:f>Sheet1!$D$2:$D$9</c:f>
              <c:numCache>
                <c:formatCode>General</c:formatCode>
                <c:ptCount val="8"/>
                <c:pt idx="0">
                  <c:v>4560.0253164556962</c:v>
                </c:pt>
                <c:pt idx="1">
                  <c:v>3435.0481927710844</c:v>
                </c:pt>
                <c:pt idx="2">
                  <c:v>5275.4193548387093</c:v>
                </c:pt>
                <c:pt idx="3">
                  <c:v>999.2</c:v>
                </c:pt>
                <c:pt idx="4">
                  <c:v>1094.75</c:v>
                </c:pt>
                <c:pt idx="5">
                  <c:v>1055.75</c:v>
                </c:pt>
                <c:pt idx="6">
                  <c:v>446</c:v>
                </c:pt>
                <c:pt idx="7">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3</c:v>
                </c:pt>
                <c:pt idx="1">
                  <c:v>0.7</c:v>
                </c:pt>
                <c:pt idx="2">
                  <c:v>0.54</c:v>
                </c:pt>
                <c:pt idx="3">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5132667413641026</c:v>
                </c:pt>
                <c:pt idx="1">
                  <c:v>0.69525035560747295</c:v>
                </c:pt>
                <c:pt idx="2">
                  <c:v>0.92050762470101166</c:v>
                </c:pt>
                <c:pt idx="3">
                  <c:v>0.999844247900128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3421.4096385542171</c:v>
                </c:pt>
                <c:pt idx="1">
                  <c:v>2192.542857142857</c:v>
                </c:pt>
                <c:pt idx="2">
                  <c:v>2624.6851851851852</c:v>
                </c:pt>
                <c:pt idx="3">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05</c:v>
                </c:pt>
                <c:pt idx="1">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5294280187897213</c:v>
                </c:pt>
                <c:pt idx="1">
                  <c:v>0.985078751036197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472.6</c:v>
                </c:pt>
                <c:pt idx="1">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B$2:$B$4</c:f>
              <c:numCache>
                <c:formatCode>General</c:formatCode>
                <c:ptCount val="3"/>
                <c:pt idx="0">
                  <c:v>0.56000000000000005</c:v>
                </c:pt>
                <c:pt idx="1">
                  <c:v>0.6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C$2:$C$4</c:f>
              <c:numCache>
                <c:formatCode>General</c:formatCode>
                <c:ptCount val="3"/>
                <c:pt idx="0">
                  <c:v>0.58390610084798611</c:v>
                </c:pt>
                <c:pt idx="1">
                  <c:v>0.9967638694874843</c:v>
                </c:pt>
                <c:pt idx="2">
                  <c:v>0.9992651643677489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HYDRO 5 SENSITIVE 5 BLADE REFILL SENSITIVE 6CT</c:v>
                </c:pt>
                <c:pt idx="1">
                  <c:v>HYDRO 5 SENSITIVE 5 BLADE RAZOR SENSITIVE 3CT</c:v>
                </c:pt>
                <c:pt idx="2">
                  <c:v>HYDRO 5 SENSITIVE 5 BLADE REFILL SENSITIVE 4CT</c:v>
                </c:pt>
              </c:strCache>
            </c:strRef>
          </c:cat>
          <c:val>
            <c:numRef>
              <c:f>Sheet1!$D$2:$D$4</c:f>
              <c:numCache>
                <c:formatCode>General</c:formatCode>
                <c:ptCount val="3"/>
                <c:pt idx="0">
                  <c:v>7307.5535714285706</c:v>
                </c:pt>
                <c:pt idx="1">
                  <c:v>4743.377049180328</c:v>
                </c:pt>
                <c:pt idx="2">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65</c:v>
                </c:pt>
                <c:pt idx="1">
                  <c:v>0.53</c:v>
                </c:pt>
                <c:pt idx="2">
                  <c:v>0.4</c:v>
                </c:pt>
                <c:pt idx="3">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7351642853664044</c:v>
                </c:pt>
                <c:pt idx="1">
                  <c:v>0.73185540703483465</c:v>
                </c:pt>
                <c:pt idx="2">
                  <c:v>0.93031726564448591</c:v>
                </c:pt>
                <c:pt idx="3">
                  <c:v>0.9998022347473548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936.0153846153844</c:v>
                </c:pt>
                <c:pt idx="1">
                  <c:v>3302.6981132075471</c:v>
                </c:pt>
                <c:pt idx="2">
                  <c:v>3361.8</c:v>
                </c:pt>
                <c:pt idx="3">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B$2:$B$8</c:f>
              <c:numCache>
                <c:formatCode>General</c:formatCode>
                <c:ptCount val="7"/>
                <c:pt idx="0">
                  <c:v>0.8</c:v>
                </c:pt>
                <c:pt idx="1">
                  <c:v>0.87</c:v>
                </c:pt>
                <c:pt idx="2">
                  <c:v>0.49</c:v>
                </c:pt>
                <c:pt idx="3">
                  <c:v>0.91</c:v>
                </c:pt>
                <c:pt idx="4">
                  <c:v>0.06</c:v>
                </c:pt>
                <c:pt idx="5">
                  <c:v>0.05</c:v>
                </c:pt>
                <c:pt idx="6">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C$2:$C$8</c:f>
              <c:numCache>
                <c:formatCode>General</c:formatCode>
                <c:ptCount val="7"/>
                <c:pt idx="0">
                  <c:v>0.35348122076470878</c:v>
                </c:pt>
                <c:pt idx="1">
                  <c:v>0.62991281129662868</c:v>
                </c:pt>
                <c:pt idx="2">
                  <c:v>0.87870922877651081</c:v>
                </c:pt>
                <c:pt idx="3">
                  <c:v>0.98299381054195156</c:v>
                </c:pt>
                <c:pt idx="4">
                  <c:v>0.99181642210561982</c:v>
                </c:pt>
                <c:pt idx="5">
                  <c:v>0.99925768583501484</c:v>
                </c:pt>
                <c:pt idx="6">
                  <c:v>0.999592406787241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HYDRO 5 SENSITIVE 5 BLADE REFILL SENSITIVE 6CT</c:v>
                </c:pt>
                <c:pt idx="1">
                  <c:v>HYDRO 5 SENSITIVE 5 BLADE RAZOR SENSITIVE 3CT</c:v>
                </c:pt>
                <c:pt idx="2">
                  <c:v>HYDRO 5 SENSITIVE 5 BLADE REFILL SENSITIVE 12CT</c:v>
                </c:pt>
                <c:pt idx="3">
                  <c:v>HYDRO 5 SENSITIVE GRAY HOLIDAY GIFT PACK 5 BLADE RAZOR SENSITIVE 3CT</c:v>
                </c:pt>
                <c:pt idx="4">
                  <c:v>SCHICK HYDRO 3 SENSITIVE 3 BLADE RAZOR SENSITIVE 4CT</c:v>
                </c:pt>
                <c:pt idx="5">
                  <c:v>SCHICK HYDRO 3 SENSITIVE 3 BLADE REFILL SENSITIVE 5CT</c:v>
                </c:pt>
                <c:pt idx="6">
                  <c:v>HYDRO 5 SENSITIVE 5 BLADE REFILL SENSITIVE 4CT</c:v>
                </c:pt>
              </c:strCache>
            </c:strRef>
          </c:cat>
          <c:val>
            <c:numRef>
              <c:f>Sheet1!$D$2:$D$8</c:f>
              <c:numCache>
                <c:formatCode>General</c:formatCode>
                <c:ptCount val="7"/>
                <c:pt idx="0">
                  <c:v>57541.387499999997</c:v>
                </c:pt>
                <c:pt idx="1">
                  <c:v>41378.275862068964</c:v>
                </c:pt>
                <c:pt idx="2">
                  <c:v>66122.918367346938</c:v>
                </c:pt>
                <c:pt idx="3">
                  <c:v>14923.912087912087</c:v>
                </c:pt>
                <c:pt idx="4">
                  <c:v>19149.166666666668</c:v>
                </c:pt>
                <c:pt idx="5">
                  <c:v>19381.2</c:v>
                </c:pt>
                <c:pt idx="6">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B$2:$B$5</c:f>
              <c:numCache>
                <c:formatCode>General</c:formatCode>
                <c:ptCount val="4"/>
                <c:pt idx="0">
                  <c:v>0.86</c:v>
                </c:pt>
                <c:pt idx="1">
                  <c:v>0.77</c:v>
                </c:pt>
                <c:pt idx="2">
                  <c:v>0.6</c:v>
                </c:pt>
                <c:pt idx="3">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C$2:$C$5</c:f>
              <c:numCache>
                <c:formatCode>General</c:formatCode>
                <c:ptCount val="4"/>
                <c:pt idx="0">
                  <c:v>0.46210310341109367</c:v>
                </c:pt>
                <c:pt idx="1">
                  <c:v>0.69981044057171327</c:v>
                </c:pt>
                <c:pt idx="2">
                  <c:v>0.9292138338179412</c:v>
                </c:pt>
                <c:pt idx="3">
                  <c:v>0.999869746157221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EQUATE EASY FIT 5 5 BLADE REFILL NORMAL 4CT</c:v>
                </c:pt>
                <c:pt idx="1">
                  <c:v>EQUATE EASY FIT 5 5 BLADE RAZOR NORMAL 2CT</c:v>
                </c:pt>
                <c:pt idx="2">
                  <c:v>EQUATE EASY FIT 5 5 BLADE REFILL NORMAL 8CT</c:v>
                </c:pt>
                <c:pt idx="3">
                  <c:v>EQUATE EASY FIT 5 5 BLADE REFILL NORMAL 12CT</c:v>
                </c:pt>
              </c:strCache>
            </c:strRef>
          </c:cat>
          <c:val>
            <c:numRef>
              <c:f>Sheet1!$D$2:$D$5</c:f>
              <c:numCache>
                <c:formatCode>General</c:formatCode>
                <c:ptCount val="4"/>
                <c:pt idx="0">
                  <c:v>46244.011627906977</c:v>
                </c:pt>
                <c:pt idx="1">
                  <c:v>26568.493506493505</c:v>
                </c:pt>
                <c:pt idx="2">
                  <c:v>32905.133333333331</c:v>
                </c:pt>
                <c:pt idx="3">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CREMO 5 BLADE RAZOR NORMAL 2CT</c:v>
                </c:pt>
                <c:pt idx="1">
                  <c:v>CREMO 5 BLADE REFILL NORMAL 4CT</c:v>
                </c:pt>
              </c:strCache>
            </c:strRef>
          </c:cat>
          <c:val>
            <c:numRef>
              <c:f>Sheet1!$B$2:$B$3</c:f>
              <c:numCache>
                <c:formatCode>General</c:formatCode>
                <c:ptCount val="2"/>
                <c:pt idx="0">
                  <c:v>0.13</c:v>
                </c:pt>
                <c:pt idx="1">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CREMO 5 BLADE RAZOR NORMAL 2CT</c:v>
                </c:pt>
                <c:pt idx="1">
                  <c:v>CREMO 5 BLADE REFILL NORMAL 4CT</c:v>
                </c:pt>
              </c:strCache>
            </c:strRef>
          </c:cat>
          <c:val>
            <c:numRef>
              <c:f>Sheet1!$C$2:$C$3</c:f>
              <c:numCache>
                <c:formatCode>General</c:formatCode>
                <c:ptCount val="2"/>
                <c:pt idx="0">
                  <c:v>0.67217974119249579</c:v>
                </c:pt>
                <c:pt idx="1">
                  <c:v>0.996710729985759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CREMO 5 BLADE RAZOR NORMAL 2CT</c:v>
                </c:pt>
                <c:pt idx="1">
                  <c:v>CREMO 5 BLADE REFILL NORMAL 4CT</c:v>
                </c:pt>
              </c:strCache>
            </c:strRef>
          </c:cat>
          <c:val>
            <c:numRef>
              <c:f>Sheet1!$D$2:$D$3</c:f>
              <c:numCache>
                <c:formatCode>General</c:formatCode>
                <c:ptCount val="2"/>
                <c:pt idx="0">
                  <c:v>6680.8461538461543</c:v>
                </c:pt>
                <c:pt idx="1">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3899999999999995</c:v>
                </c:pt>
                <c:pt idx="1">
                  <c:v>0.85699999999999998</c:v>
                </c:pt>
                <c:pt idx="2">
                  <c:v>0.95</c:v>
                </c:pt>
                <c:pt idx="3">
                  <c:v>0.70099999999999996</c:v>
                </c:pt>
                <c:pt idx="4">
                  <c:v>0.75900000000000001</c:v>
                </c:pt>
                <c:pt idx="5">
                  <c:v>0.84399999999999997</c:v>
                </c:pt>
                <c:pt idx="6">
                  <c:v>0.89600000000000002</c:v>
                </c:pt>
                <c:pt idx="7">
                  <c:v>0.634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844353482598892</c:v>
                </c:pt>
                <c:pt idx="1">
                  <c:v>0.48877189573508345</c:v>
                </c:pt>
                <c:pt idx="2">
                  <c:v>0.70082951326385778</c:v>
                </c:pt>
                <c:pt idx="3">
                  <c:v>0.85817378309682857</c:v>
                </c:pt>
                <c:pt idx="4">
                  <c:v>0.91754790171346678</c:v>
                </c:pt>
                <c:pt idx="5">
                  <c:v>0.94760628056901841</c:v>
                </c:pt>
                <c:pt idx="6">
                  <c:v>0.9757935878948204</c:v>
                </c:pt>
                <c:pt idx="7">
                  <c:v>0.9998925850833972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52579.062832800853</c:v>
                </c:pt>
                <c:pt idx="1">
                  <c:v>51342.777129521586</c:v>
                </c:pt>
                <c:pt idx="2">
                  <c:v>42642.536842105263</c:v>
                </c:pt>
                <c:pt idx="3">
                  <c:v>42879.101283880176</c:v>
                </c:pt>
                <c:pt idx="4">
                  <c:v>14944.044795783924</c:v>
                </c:pt>
                <c:pt idx="5">
                  <c:v>6803.5545023696686</c:v>
                </c:pt>
                <c:pt idx="6">
                  <c:v>6009.7767857142853</c:v>
                </c:pt>
                <c:pt idx="7">
                  <c:v>7261.43533123028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8499999999999999</c:v>
                </c:pt>
                <c:pt idx="1">
                  <c:v>0.98799999999999999</c:v>
                </c:pt>
                <c:pt idx="2">
                  <c:v>0.91100000000000003</c:v>
                </c:pt>
                <c:pt idx="3">
                  <c:v>0.95899999999999996</c:v>
                </c:pt>
                <c:pt idx="4">
                  <c:v>0.93799999999999994</c:v>
                </c:pt>
                <c:pt idx="5">
                  <c:v>0.97799999999999998</c:v>
                </c:pt>
                <c:pt idx="6">
                  <c:v>4.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5294867001747371</c:v>
                </c:pt>
                <c:pt idx="1">
                  <c:v>0.50826651727711236</c:v>
                </c:pt>
                <c:pt idx="2">
                  <c:v>0.65411376901191298</c:v>
                </c:pt>
                <c:pt idx="3">
                  <c:v>0.79793943069239948</c:v>
                </c:pt>
                <c:pt idx="4">
                  <c:v>0.92917131744754689</c:v>
                </c:pt>
                <c:pt idx="5">
                  <c:v>0.99985970533604041</c:v>
                </c:pt>
                <c:pt idx="6">
                  <c:v>0.9999935881426934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88856.375634517768</c:v>
                </c:pt>
                <c:pt idx="1">
                  <c:v>38983.218623481785</c:v>
                </c:pt>
                <c:pt idx="2">
                  <c:v>39700.241492864981</c:v>
                </c:pt>
                <c:pt idx="3">
                  <c:v>37190.417101147032</c:v>
                </c:pt>
                <c:pt idx="4">
                  <c:v>34693.635394456294</c:v>
                </c:pt>
                <c:pt idx="5">
                  <c:v>17923.486707566462</c:v>
                </c:pt>
                <c:pt idx="6">
                  <c:v>83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B$2:$B$4</c:f>
              <c:numCache>
                <c:formatCode>General</c:formatCode>
                <c:ptCount val="3"/>
                <c:pt idx="0">
                  <c:v>0.99</c:v>
                </c:pt>
                <c:pt idx="1">
                  <c:v>0.86</c:v>
                </c:pt>
                <c:pt idx="2">
                  <c:v>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C$2:$C$4</c:f>
              <c:numCache>
                <c:formatCode>General</c:formatCode>
                <c:ptCount val="3"/>
                <c:pt idx="0">
                  <c:v>0.89445951982424732</c:v>
                </c:pt>
                <c:pt idx="1">
                  <c:v>0.9910877231637578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SCHICK XTREME 3 SENSITIVE BLACK GREEN 3 BLADE DISPOSABLE SENSITIVE 20CT</c:v>
                </c:pt>
                <c:pt idx="1">
                  <c:v>SCHICK XTREME 3 SENSITIVE BLACK 3 BLADE DISPOSABLE SENSITIVE 20CT</c:v>
                </c:pt>
                <c:pt idx="2">
                  <c:v>SCHICK XTREME 3 SENSITIVE 3 BLADE DISPOSABLE SENSITIVE 25CT</c:v>
                </c:pt>
              </c:strCache>
            </c:strRef>
          </c:cat>
          <c:val>
            <c:numRef>
              <c:f>Sheet1!$D$2:$D$4</c:f>
              <c:numCache>
                <c:formatCode>General</c:formatCode>
                <c:ptCount val="3"/>
                <c:pt idx="0">
                  <c:v>22471.090909090908</c:v>
                </c:pt>
                <c:pt idx="1">
                  <c:v>2794.5</c:v>
                </c:pt>
                <c:pt idx="2">
                  <c:v>738.8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0.97</c:v>
                </c:pt>
                <c:pt idx="1">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SCHICK XTREME 3 SENSITIVE BLACK GREEN 3 BLADE DISPOSABLE SENSITIVE 20CT</c:v>
                </c:pt>
                <c:pt idx="1">
                  <c:v>SCHICK XTREME 3 SENSITIVE BLACK 3 BLADE DISPOSABLE SENSITIVE 20CT</c:v>
                </c:pt>
              </c:strCache>
            </c:strRef>
          </c:cat>
          <c:val>
            <c:numRef>
              <c:f>Sheet1!$C$2:$C$3</c:f>
              <c:numCache>
                <c:formatCode>General</c:formatCode>
                <c:ptCount val="2"/>
                <c:pt idx="0">
                  <c:v>0.94804676487873218</c:v>
                </c:pt>
                <c:pt idx="1">
                  <c:v>0.999498001575343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SCHICK XTREME 3 SENSITIVE BLACK GREEN 3 BLADE DISPOSABLE SENSITIVE 20CT</c:v>
                </c:pt>
                <c:pt idx="1">
                  <c:v>SCHICK XTREME 3 SENSITIVE BLACK 3 BLADE DISPOSABLE SENSITIVE 20CT</c:v>
                </c:pt>
              </c:strCache>
            </c:strRef>
          </c:cat>
          <c:val>
            <c:numRef>
              <c:f>Sheet1!$D$2:$D$3</c:f>
              <c:numCache>
                <c:formatCode>General</c:formatCode>
                <c:ptCount val="2"/>
                <c:pt idx="0">
                  <c:v>90903.278350515466</c:v>
                </c:pt>
                <c:pt idx="1">
                  <c:v>6739.985915492958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B$2:$B$9</c:f>
              <c:numCache>
                <c:formatCode>General</c:formatCode>
                <c:ptCount val="8"/>
                <c:pt idx="0">
                  <c:v>0.94</c:v>
                </c:pt>
                <c:pt idx="1">
                  <c:v>0.87</c:v>
                </c:pt>
                <c:pt idx="2">
                  <c:v>0.95</c:v>
                </c:pt>
                <c:pt idx="3">
                  <c:v>0.68</c:v>
                </c:pt>
                <c:pt idx="4">
                  <c:v>0.84</c:v>
                </c:pt>
                <c:pt idx="5">
                  <c:v>0.64</c:v>
                </c:pt>
                <c:pt idx="6">
                  <c:v>0.88</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C$2:$C$9</c:f>
              <c:numCache>
                <c:formatCode>General</c:formatCode>
                <c:ptCount val="8"/>
                <c:pt idx="0">
                  <c:v>0.2954296139850448</c:v>
                </c:pt>
                <c:pt idx="1">
                  <c:v>0.54221521890091628</c:v>
                </c:pt>
                <c:pt idx="2">
                  <c:v>0.74933613018893153</c:v>
                </c:pt>
                <c:pt idx="3">
                  <c:v>0.91422744531969991</c:v>
                </c:pt>
                <c:pt idx="4">
                  <c:v>0.94478630365052918</c:v>
                </c:pt>
                <c:pt idx="5">
                  <c:v>0.97122464031698974</c:v>
                </c:pt>
                <c:pt idx="6">
                  <c:v>0.99736824322867168</c:v>
                </c:pt>
                <c:pt idx="7">
                  <c:v>0.999881387635272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12CT</c:v>
                </c:pt>
                <c:pt idx="6">
                  <c:v>SCHICK XTREME 3 SENSITIVE GREEN BLACK 3 BLADE DISPOSABLE SENSITIVE 4CT</c:v>
                </c:pt>
                <c:pt idx="7">
                  <c:v>SCHICK XTREME 3 SENSITIVE GREEN HOLIDAY GIFT PACK 3 BLADE DISPOSABLE SENSITIVE 8CT</c:v>
                </c:pt>
              </c:strCache>
            </c:strRef>
          </c:cat>
          <c:val>
            <c:numRef>
              <c:f>Sheet1!$D$2:$D$9</c:f>
              <c:numCache>
                <c:formatCode>General</c:formatCode>
                <c:ptCount val="8"/>
                <c:pt idx="0">
                  <c:v>4372</c:v>
                </c:pt>
                <c:pt idx="1">
                  <c:v>3945.977011494253</c:v>
                </c:pt>
                <c:pt idx="2">
                  <c:v>3032.8736842105263</c:v>
                </c:pt>
                <c:pt idx="3">
                  <c:v>3373.205882352941</c:v>
                </c:pt>
                <c:pt idx="4">
                  <c:v>506.07142857142856</c:v>
                </c:pt>
                <c:pt idx="5">
                  <c:v>574.65625</c:v>
                </c:pt>
                <c:pt idx="6">
                  <c:v>413.27272727272725</c:v>
                </c:pt>
                <c:pt idx="7">
                  <c:v>87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B$2:$B$7</c:f>
              <c:numCache>
                <c:formatCode>General</c:formatCode>
                <c:ptCount val="6"/>
                <c:pt idx="0">
                  <c:v>0.98</c:v>
                </c:pt>
                <c:pt idx="1">
                  <c:v>0.99</c:v>
                </c:pt>
                <c:pt idx="2">
                  <c:v>0.9</c:v>
                </c:pt>
                <c:pt idx="3">
                  <c:v>0.95</c:v>
                </c:pt>
                <c:pt idx="4">
                  <c:v>0.94</c:v>
                </c:pt>
                <c:pt idx="5">
                  <c:v>0.9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C$2:$C$7</c:f>
              <c:numCache>
                <c:formatCode>General</c:formatCode>
                <c:ptCount val="6"/>
                <c:pt idx="0">
                  <c:v>0.34499240071029053</c:v>
                </c:pt>
                <c:pt idx="1">
                  <c:v>0.52219202975805656</c:v>
                </c:pt>
                <c:pt idx="2">
                  <c:v>0.66825077599181681</c:v>
                </c:pt>
                <c:pt idx="3">
                  <c:v>0.8028039758528519</c:v>
                </c:pt>
                <c:pt idx="4">
                  <c:v>0.93001432294109865</c:v>
                </c:pt>
                <c:pt idx="5">
                  <c:v>0.999996588422128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CALIBER 3 3 BLADE DISPOSABLE NORMAL 3CT</c:v>
                </c:pt>
                <c:pt idx="4">
                  <c:v>EQUATE SPEED 3 SENSITIVE GREEN 3 BLADE DISPOSABLE SENSITIVE 4CT</c:v>
                </c:pt>
                <c:pt idx="5">
                  <c:v>EQUATE TB (TWIN BLADE) BLUE 2 BLADE DISPOSABLE NORMAL 5CT</c:v>
                </c:pt>
              </c:strCache>
            </c:strRef>
          </c:cat>
          <c:val>
            <c:numRef>
              <c:f>Sheet1!$D$2:$D$7</c:f>
              <c:numCache>
                <c:formatCode>General</c:formatCode>
                <c:ptCount val="6"/>
                <c:pt idx="0">
                  <c:v>6191.2653061224491</c:v>
                </c:pt>
                <c:pt idx="1">
                  <c:v>3147.9191919191921</c:v>
                </c:pt>
                <c:pt idx="2">
                  <c:v>2854.1777777777779</c:v>
                </c:pt>
                <c:pt idx="3">
                  <c:v>2490.9578947368423</c:v>
                </c:pt>
                <c:pt idx="4">
                  <c:v>2380.0744680851062</c:v>
                </c:pt>
                <c:pt idx="5">
                  <c:v>1268.855670103092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B$2:$B$8</c:f>
              <c:numCache>
                <c:formatCode>General</c:formatCode>
                <c:ptCount val="7"/>
                <c:pt idx="0">
                  <c:v>0.77</c:v>
                </c:pt>
                <c:pt idx="1">
                  <c:v>0.65</c:v>
                </c:pt>
                <c:pt idx="2">
                  <c:v>0.81</c:v>
                </c:pt>
                <c:pt idx="3">
                  <c:v>0.3</c:v>
                </c:pt>
                <c:pt idx="4">
                  <c:v>0.71</c:v>
                </c:pt>
                <c:pt idx="5">
                  <c:v>0.61</c:v>
                </c:pt>
                <c:pt idx="6">
                  <c:v>0.2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C$2:$C$8</c:f>
              <c:numCache>
                <c:formatCode>General</c:formatCode>
                <c:ptCount val="7"/>
                <c:pt idx="0">
                  <c:v>0.28402402573563312</c:v>
                </c:pt>
                <c:pt idx="1">
                  <c:v>0.55813986625919698</c:v>
                </c:pt>
                <c:pt idx="2">
                  <c:v>0.79967629294231446</c:v>
                </c:pt>
                <c:pt idx="3">
                  <c:v>0.92188199360632461</c:v>
                </c:pt>
                <c:pt idx="4">
                  <c:v>0.9538059467551343</c:v>
                </c:pt>
                <c:pt idx="5">
                  <c:v>0.98497385700898699</c:v>
                </c:pt>
                <c:pt idx="6">
                  <c:v>0.99993126882773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strCache>
            </c:strRef>
          </c:cat>
          <c:val>
            <c:numRef>
              <c:f>Sheet1!$D$2:$D$8</c:f>
              <c:numCache>
                <c:formatCode>General</c:formatCode>
                <c:ptCount val="7"/>
                <c:pt idx="0">
                  <c:v>4400.727272727273</c:v>
                </c:pt>
                <c:pt idx="1">
                  <c:v>5031.3076923076924</c:v>
                </c:pt>
                <c:pt idx="2">
                  <c:v>3557.6049382716051</c:v>
                </c:pt>
                <c:pt idx="3">
                  <c:v>4859.9333333333334</c:v>
                </c:pt>
                <c:pt idx="4">
                  <c:v>536.43661971830988</c:v>
                </c:pt>
                <c:pt idx="5">
                  <c:v>609.59016393442619</c:v>
                </c:pt>
                <c:pt idx="6">
                  <c:v>743.5416666666666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B$2:$B$8</c:f>
              <c:numCache>
                <c:formatCode>General</c:formatCode>
                <c:ptCount val="7"/>
                <c:pt idx="0">
                  <c:v>0.91</c:v>
                </c:pt>
                <c:pt idx="1">
                  <c:v>0.95</c:v>
                </c:pt>
                <c:pt idx="2">
                  <c:v>0.82</c:v>
                </c:pt>
                <c:pt idx="3">
                  <c:v>0.65</c:v>
                </c:pt>
                <c:pt idx="4">
                  <c:v>0.74</c:v>
                </c:pt>
                <c:pt idx="5">
                  <c:v>0.95</c:v>
                </c:pt>
                <c:pt idx="6">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C$2:$C$8</c:f>
              <c:numCache>
                <c:formatCode>General</c:formatCode>
                <c:ptCount val="7"/>
                <c:pt idx="0">
                  <c:v>0.31763524223355327</c:v>
                </c:pt>
                <c:pt idx="1">
                  <c:v>0.49358674202648012</c:v>
                </c:pt>
                <c:pt idx="2">
                  <c:v>0.63468262502682338</c:v>
                </c:pt>
                <c:pt idx="3">
                  <c:v>0.77062241571760626</c:v>
                </c:pt>
                <c:pt idx="4">
                  <c:v>0.90067880333937822</c:v>
                </c:pt>
                <c:pt idx="5">
                  <c:v>0.99930574882052436</c:v>
                </c:pt>
                <c:pt idx="6">
                  <c:v>0.999989781584371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8</c:f>
              <c:strCache>
                <c:ptCount val="7"/>
                <c:pt idx="0">
                  <c:v>EQUATE CALIBER 5 5 BLADE DISPOSABLE NORMAL 3CT</c:v>
                </c:pt>
                <c:pt idx="1">
                  <c:v>EQUATE TB (TWIN BLADE) BLUE 2 BLADE DISPOSABLE NORMAL 12CT</c:v>
                </c:pt>
                <c:pt idx="2">
                  <c:v>EQUATE SPEED 3 SENSITIVE GREEN 3 BLADE DISPOSABLE SENSITIVE 4CT</c:v>
                </c:pt>
                <c:pt idx="3">
                  <c:v>EQUATE SPEED 3 SENSITIVE GREEN 3 BLADE DISPOSABLE SENSITIVE 8CT</c:v>
                </c:pt>
                <c:pt idx="4">
                  <c:v>EQUATE CALIBER 3 3 BLADE DISPOSABLE NORMAL 3CT</c:v>
                </c:pt>
                <c:pt idx="5">
                  <c:v>EQUATE TB (TWIN BLADE) BLUE 2 BLADE DISPOSABLE NORMAL 5CT</c:v>
                </c:pt>
                <c:pt idx="6">
                  <c:v>EQUATE TB (TWIN BLADE) 2 BLADE DISPOSABLE NORMAL 2CT</c:v>
                </c:pt>
              </c:strCache>
            </c:strRef>
          </c:cat>
          <c:val>
            <c:numRef>
              <c:f>Sheet1!$D$2:$D$8</c:f>
              <c:numCache>
                <c:formatCode>General</c:formatCode>
                <c:ptCount val="7"/>
                <c:pt idx="0">
                  <c:v>5807.0109890109889</c:v>
                </c:pt>
                <c:pt idx="1">
                  <c:v>3081.3052631578948</c:v>
                </c:pt>
                <c:pt idx="2">
                  <c:v>2862.6341463414633</c:v>
                </c:pt>
                <c:pt idx="3">
                  <c:v>3479.353846153846</c:v>
                </c:pt>
                <c:pt idx="4">
                  <c:v>2923.9189189189187</c:v>
                </c:pt>
                <c:pt idx="5">
                  <c:v>1727.1789473684209</c:v>
                </c:pt>
                <c:pt idx="6">
                  <c:v>189.666666666666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0.95</c:v>
                </c:pt>
                <c:pt idx="1">
                  <c:v>0.87</c:v>
                </c:pt>
                <c:pt idx="2">
                  <c:v>0.96</c:v>
                </c:pt>
                <c:pt idx="3">
                  <c:v>0.73</c:v>
                </c:pt>
                <c:pt idx="4">
                  <c:v>0.87</c:v>
                </c:pt>
                <c:pt idx="5">
                  <c:v>0.86</c:v>
                </c:pt>
                <c:pt idx="6">
                  <c:v>0.91</c:v>
                </c:pt>
                <c:pt idx="7">
                  <c:v>0.6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C$2:$C$9</c:f>
              <c:numCache>
                <c:formatCode>General</c:formatCode>
                <c:ptCount val="8"/>
                <c:pt idx="0">
                  <c:v>0.25348149249437868</c:v>
                </c:pt>
                <c:pt idx="1">
                  <c:v>0.47926159573329508</c:v>
                </c:pt>
                <c:pt idx="2">
                  <c:v>0.68960592400961007</c:v>
                </c:pt>
                <c:pt idx="3">
                  <c:v>0.84885242471980749</c:v>
                </c:pt>
                <c:pt idx="4">
                  <c:v>0.91730190143051626</c:v>
                </c:pt>
                <c:pt idx="5">
                  <c:v>0.94723800304031303</c:v>
                </c:pt>
                <c:pt idx="6">
                  <c:v>0.97532754311428205</c:v>
                </c:pt>
                <c:pt idx="7">
                  <c:v>0.999889765651824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D$2:$D$9</c:f>
              <c:numCache>
                <c:formatCode>General</c:formatCode>
                <c:ptCount val="8"/>
                <c:pt idx="0">
                  <c:v>44077.368421052633</c:v>
                </c:pt>
                <c:pt idx="1">
                  <c:v>42870.586206896551</c:v>
                </c:pt>
                <c:pt idx="2">
                  <c:v>36195.333333333336</c:v>
                </c:pt>
                <c:pt idx="3">
                  <c:v>36036.28767123288</c:v>
                </c:pt>
                <c:pt idx="4">
                  <c:v>12997.022988505747</c:v>
                </c:pt>
                <c:pt idx="5">
                  <c:v>5750.2906976744189</c:v>
                </c:pt>
                <c:pt idx="6">
                  <c:v>5099.131868131868</c:v>
                </c:pt>
                <c:pt idx="7">
                  <c:v>6147.75757575757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B$2:$B$7</c:f>
              <c:numCache>
                <c:formatCode>General</c:formatCode>
                <c:ptCount val="6"/>
                <c:pt idx="0">
                  <c:v>0.99</c:v>
                </c:pt>
                <c:pt idx="1">
                  <c:v>0.99</c:v>
                </c:pt>
                <c:pt idx="2">
                  <c:v>0.93</c:v>
                </c:pt>
                <c:pt idx="3">
                  <c:v>0.97</c:v>
                </c:pt>
                <c:pt idx="4">
                  <c:v>0.95</c:v>
                </c:pt>
                <c:pt idx="5">
                  <c:v>0.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C$2:$C$7</c:f>
              <c:numCache>
                <c:formatCode>General</c:formatCode>
                <c:ptCount val="6"/>
                <c:pt idx="0">
                  <c:v>0.35635175849352624</c:v>
                </c:pt>
                <c:pt idx="1">
                  <c:v>0.5082632969156593</c:v>
                </c:pt>
                <c:pt idx="2">
                  <c:v>0.65486425136676807</c:v>
                </c:pt>
                <c:pt idx="3">
                  <c:v>0.80026944023153324</c:v>
                </c:pt>
                <c:pt idx="4">
                  <c:v>0.93131954744108747</c:v>
                </c:pt>
                <c:pt idx="5">
                  <c:v>0.999891557721864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7</c:f>
              <c:strCache>
                <c:ptCount val="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EQUATE TB (TWIN BLADE) BLUE 2 BLADE DISPOSABLE NORMAL 5CT</c:v>
                </c:pt>
              </c:strCache>
            </c:strRef>
          </c:cat>
          <c:val>
            <c:numRef>
              <c:f>Sheet1!$D$2:$D$7</c:f>
              <c:numCache>
                <c:formatCode>General</c:formatCode>
                <c:ptCount val="6"/>
                <c:pt idx="0">
                  <c:v>76941.121212121216</c:v>
                </c:pt>
                <c:pt idx="1">
                  <c:v>32799.737373737371</c:v>
                </c:pt>
                <c:pt idx="2">
                  <c:v>33695.247311827959</c:v>
                </c:pt>
                <c:pt idx="3">
                  <c:v>32042.247422680412</c:v>
                </c:pt>
                <c:pt idx="4">
                  <c:v>29486.863157894735</c:v>
                </c:pt>
                <c:pt idx="5">
                  <c:v>14956.69387755102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B$2:$B$5</c:f>
              <c:numCache>
                <c:formatCode>General</c:formatCode>
                <c:ptCount val="4"/>
                <c:pt idx="0">
                  <c:v>0.85199999999999998</c:v>
                </c:pt>
                <c:pt idx="1">
                  <c:v>0.79300000000000004</c:v>
                </c:pt>
                <c:pt idx="2">
                  <c:v>5.6000000000000001E-2</c:v>
                </c:pt>
                <c:pt idx="3">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C$2:$C$5</c:f>
              <c:numCache>
                <c:formatCode>General</c:formatCode>
                <c:ptCount val="4"/>
                <c:pt idx="0">
                  <c:v>0.73747458417331369</c:v>
                </c:pt>
                <c:pt idx="1">
                  <c:v>0.97817856171816908</c:v>
                </c:pt>
                <c:pt idx="2">
                  <c:v>0.99936717705315448</c:v>
                </c:pt>
                <c:pt idx="3">
                  <c:v>0.999898062858646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AZOR SENSITIVE 3CT</c:v>
                </c:pt>
                <c:pt idx="1">
                  <c:v>HYDRO 5 SENSITIVE GRAY HOLIDAY GIFT PACK 5 BLADE RAZOR SENSITIVE 3CT</c:v>
                </c:pt>
                <c:pt idx="2">
                  <c:v>SCHICK HYDRO 3 SENSITIVE 3 BLADE RAZOR SENSITIVE 4CT</c:v>
                </c:pt>
                <c:pt idx="3">
                  <c:v>HYDRO 5 DRY SKIN 5 BLADE RAZOR DRY 2CT</c:v>
                </c:pt>
              </c:strCache>
            </c:strRef>
          </c:cat>
          <c:val>
            <c:numRef>
              <c:f>Sheet1!$D$2:$D$5</c:f>
              <c:numCache>
                <c:formatCode>General</c:formatCode>
                <c:ptCount val="4"/>
                <c:pt idx="0">
                  <c:v>48994.894366197179</c:v>
                </c:pt>
                <c:pt idx="1">
                  <c:v>17181.197982345522</c:v>
                </c:pt>
                <c:pt idx="2">
                  <c:v>21416.964285714283</c:v>
                </c:pt>
                <c:pt idx="3">
                  <c:v>125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884511303778013</c:v>
                </c:pt>
                <c:pt idx="1">
                  <c:v>1.430391263489547</c:v>
                </c:pt>
                <c:pt idx="2">
                  <c:v>0.88521777313784356</c:v>
                </c:pt>
                <c:pt idx="3">
                  <c:v>1.3425884173888283</c:v>
                </c:pt>
                <c:pt idx="4">
                  <c:v>8.55984069025212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5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41038604973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1615.1131824234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117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946595609467850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7625.128205128204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B$2:$B$5</c:f>
              <c:numCache>
                <c:formatCode>General</c:formatCode>
                <c:ptCount val="4"/>
                <c:pt idx="0">
                  <c:v>0.83</c:v>
                </c:pt>
                <c:pt idx="1">
                  <c:v>0.05</c:v>
                </c:pt>
                <c:pt idx="2">
                  <c:v>0.04</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C$2:$C$5</c:f>
              <c:numCache>
                <c:formatCode>General</c:formatCode>
                <c:ptCount val="4"/>
                <c:pt idx="0">
                  <c:v>0.96677268843164654</c:v>
                </c:pt>
                <c:pt idx="1">
                  <c:v>0.98371356490837825</c:v>
                </c:pt>
                <c:pt idx="2">
                  <c:v>0.99856226348556165</c:v>
                </c:pt>
                <c:pt idx="3">
                  <c:v>0.9992811317427808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AZOR SENSITIVE 3CT</c:v>
                </c:pt>
                <c:pt idx="1">
                  <c:v>SCHICK HYDRO 3 SENSITIVE 3 BLADE RAZOR SENSITIVE 4CT</c:v>
                </c:pt>
                <c:pt idx="2">
                  <c:v>HYDRO 5 SENSITIVE GRAY HOLIDAY GIFT PACK 5 BLADE RAZOR SENSITIVE 3CT</c:v>
                </c:pt>
                <c:pt idx="3">
                  <c:v>HYDRO 5 DRY SKIN 5 BLADE RAZOR DRY 2CT</c:v>
                </c:pt>
              </c:strCache>
            </c:strRef>
          </c:cat>
          <c:val>
            <c:numRef>
              <c:f>Sheet1!$D$2:$D$5</c:f>
              <c:numCache>
                <c:formatCode>General</c:formatCode>
                <c:ptCount val="4"/>
                <c:pt idx="0">
                  <c:v>3435.0481927710844</c:v>
                </c:pt>
                <c:pt idx="1">
                  <c:v>999.2</c:v>
                </c:pt>
                <c:pt idx="2">
                  <c:v>1094.75</c:v>
                </c:pt>
                <c:pt idx="3">
                  <c:v>2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869689861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192.5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776582540339262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47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HYDRO 5 SENSITIVE 5 BLADE RAZOR SENSITIVE 3CT</c:v>
                </c:pt>
              </c:strCache>
            </c:strRef>
          </c:cat>
          <c:val>
            <c:numRef>
              <c:f>Sheet1!$B$2:$B$2</c:f>
              <c:numCache>
                <c:formatCode>General</c:formatCode>
                <c:ptCount val="1"/>
                <c:pt idx="0">
                  <c:v>0.6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HYDRO 5 SENSITIVE 5 BLADE RAZOR SENSITIVE 3CT</c:v>
                </c:pt>
              </c:strCache>
            </c:strRef>
          </c:cat>
          <c:val>
            <c:numRef>
              <c:f>Sheet1!$C$2:$C$2</c:f>
              <c:numCache>
                <c:formatCode>General</c:formatCode>
                <c:ptCount val="1"/>
                <c:pt idx="0">
                  <c:v>0.999233340700629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HYDRO 5 SENSITIVE 5 BLADE RAZOR SENSITIVE 3CT</c:v>
                </c:pt>
              </c:strCache>
            </c:strRef>
          </c:cat>
          <c:val>
            <c:numRef>
              <c:f>Sheet1!$D$2:$D$2</c:f>
              <c:numCache>
                <c:formatCode>General</c:formatCode>
                <c:ptCount val="1"/>
                <c:pt idx="0">
                  <c:v>4743.3770491803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5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25738049538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3302.69811320754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B$2:$B$4</c:f>
              <c:numCache>
                <c:formatCode>General</c:formatCode>
                <c:ptCount val="3"/>
                <c:pt idx="0">
                  <c:v>0.87</c:v>
                </c:pt>
                <c:pt idx="1">
                  <c:v>0.91</c:v>
                </c:pt>
                <c:pt idx="2">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C$2:$C$4</c:f>
              <c:numCache>
                <c:formatCode>General</c:formatCode>
                <c:ptCount val="3"/>
                <c:pt idx="0">
                  <c:v>0.70921959268106483</c:v>
                </c:pt>
                <c:pt idx="1">
                  <c:v>0.97677464476568077</c:v>
                </c:pt>
                <c:pt idx="2">
                  <c:v>0.999410150959194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HYDRO 5 SENSITIVE 5 BLADE RAZOR SENSITIVE 3CT</c:v>
                </c:pt>
                <c:pt idx="1">
                  <c:v>HYDRO 5 SENSITIVE GRAY HOLIDAY GIFT PACK 5 BLADE RAZOR SENSITIVE 3CT</c:v>
                </c:pt>
                <c:pt idx="2">
                  <c:v>SCHICK HYDRO 3 SENSITIVE 3 BLADE RAZOR SENSITIVE 4CT</c:v>
                </c:pt>
              </c:strCache>
            </c:strRef>
          </c:cat>
          <c:val>
            <c:numRef>
              <c:f>Sheet1!$D$2:$D$4</c:f>
              <c:numCache>
                <c:formatCode>General</c:formatCode>
                <c:ptCount val="3"/>
                <c:pt idx="0">
                  <c:v>41378.275862068964</c:v>
                </c:pt>
                <c:pt idx="1">
                  <c:v>14923.912087912087</c:v>
                </c:pt>
                <c:pt idx="2">
                  <c:v>19149.1666666666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EQUATE EASY FIT 5 5 BLADE RAZOR NORMAL 2CT</c:v>
                </c:pt>
              </c:strCache>
            </c:strRef>
          </c:cat>
          <c:val>
            <c:numRef>
              <c:f>Sheet1!$B$2:$B$2</c:f>
              <c:numCache>
                <c:formatCode>General</c:formatCode>
                <c:ptCount val="1"/>
                <c:pt idx="0">
                  <c:v>0.7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EQUATE EASY FIT 5 5 BLADE RAZOR NORMAL 2CT</c:v>
                </c:pt>
              </c:strCache>
            </c:strRef>
          </c:cat>
          <c:val>
            <c:numRef>
              <c:f>Sheet1!$C$2:$C$2</c:f>
              <c:numCache>
                <c:formatCode>General</c:formatCode>
                <c:ptCount val="1"/>
                <c:pt idx="0">
                  <c:v>0.999938902164769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EQUATE EASY FIT 5 5 BLADE RAZOR NORMAL 2CT</c:v>
                </c:pt>
              </c:strCache>
            </c:strRef>
          </c:cat>
          <c:val>
            <c:numRef>
              <c:f>Sheet1!$D$2:$D$2</c:f>
              <c:numCache>
                <c:formatCode>General</c:formatCode>
                <c:ptCount val="1"/>
                <c:pt idx="0">
                  <c:v>26568.4935064935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AZOR NORMAL 2CT</c:v>
                </c:pt>
              </c:strCache>
            </c:strRef>
          </c:cat>
          <c:val>
            <c:numRef>
              <c:f>Sheet1!$B$2:$B$2</c:f>
              <c:numCache>
                <c:formatCode>General</c:formatCode>
                <c:ptCount val="1"/>
                <c:pt idx="0">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AZOR NORMAL 2CT</c:v>
                </c:pt>
              </c:strCache>
            </c:strRef>
          </c:cat>
          <c:val>
            <c:numRef>
              <c:f>Sheet1!$C$2:$C$2</c:f>
              <c:numCache>
                <c:formatCode>General</c:formatCode>
                <c:ptCount val="1"/>
                <c:pt idx="0">
                  <c:v>0.9951303909436729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AZOR NORMAL 2CT</c:v>
                </c:pt>
              </c:strCache>
            </c:strRef>
          </c:cat>
          <c:val>
            <c:numRef>
              <c:f>Sheet1!$D$2:$D$2</c:f>
              <c:numCache>
                <c:formatCode>General</c:formatCode>
                <c:ptCount val="1"/>
                <c:pt idx="0">
                  <c:v>6680.8461538461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845903530310278</c:v>
                </c:pt>
                <c:pt idx="1">
                  <c:v>0.20224109939179227</c:v>
                </c:pt>
                <c:pt idx="2">
                  <c:v>5.1430100632834493E-2</c:v>
                </c:pt>
                <c:pt idx="3">
                  <c:v>4.5583978383688155E-2</c:v>
                </c:pt>
                <c:pt idx="4">
                  <c:v>2.9879671567027418E-2</c:v>
                </c:pt>
                <c:pt idx="5">
                  <c:v>2.1574179939746557E-2</c:v>
                </c:pt>
                <c:pt idx="6">
                  <c:v>8.1495299780187202E-4</c:v>
                </c:pt>
                <c:pt idx="7">
                  <c:v>1.6981784006463146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60724196580431455</c:v>
                </c:pt>
                <c:pt idx="1">
                  <c:v>0.18248142511861065</c:v>
                </c:pt>
                <c:pt idx="2">
                  <c:v>7.6179393071345428E-2</c:v>
                </c:pt>
                <c:pt idx="3">
                  <c:v>6.8078059260585425E-2</c:v>
                </c:pt>
                <c:pt idx="4">
                  <c:v>2.7168561453764204E-2</c:v>
                </c:pt>
                <c:pt idx="5">
                  <c:v>3.3613821502103652E-2</c:v>
                </c:pt>
                <c:pt idx="6">
                  <c:v>5.23677378927580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0.93643843750357714</c:v>
                </c:pt>
                <c:pt idx="1">
                  <c:v>0.90229644551673382</c:v>
                </c:pt>
                <c:pt idx="2">
                  <c:v>1.4812219329532141</c:v>
                </c:pt>
                <c:pt idx="3">
                  <c:v>1.4934646267063558</c:v>
                </c:pt>
                <c:pt idx="4">
                  <c:v>0.90926573248365428</c:v>
                </c:pt>
                <c:pt idx="5">
                  <c:v>1.5580579005080148</c:v>
                </c:pt>
                <c:pt idx="6">
                  <c:v>6.4258599003877084</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78500000000000003</c:v>
                </c:pt>
                <c:pt idx="1">
                  <c:v>0.44800000000000001</c:v>
                </c:pt>
                <c:pt idx="2">
                  <c:v>4.5999999999999999E-2</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60463353381339924</c:v>
                </c:pt>
                <c:pt idx="1">
                  <c:v>0.98776131543492451</c:v>
                </c:pt>
                <c:pt idx="2">
                  <c:v>0.99914314690832917</c:v>
                </c:pt>
                <c:pt idx="3">
                  <c:v>0.999778303048254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68443.006369426745</c:v>
                </c:pt>
                <c:pt idx="1">
                  <c:v>75992.745535714275</c:v>
                </c:pt>
                <c:pt idx="2">
                  <c:v>21986.739130434784</c:v>
                </c:pt>
                <c:pt idx="3">
                  <c:v>564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4499999999999997</c:v>
                </c:pt>
                <c:pt idx="1">
                  <c:v>0.58399999999999996</c:v>
                </c:pt>
                <c:pt idx="2">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777798250155568</c:v>
                </c:pt>
                <c:pt idx="1">
                  <c:v>0.90630942323209851</c:v>
                </c:pt>
                <c:pt idx="2">
                  <c:v>0.999839095069610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54222.520710059172</c:v>
                </c:pt>
                <c:pt idx="1">
                  <c:v>38536.181506849316</c:v>
                </c:pt>
                <c:pt idx="2">
                  <c:v>10233.4397677793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6.4000000000000001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675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79</c:v>
                </c:pt>
                <c:pt idx="1">
                  <c:v>0.31</c:v>
                </c:pt>
                <c:pt idx="2">
                  <c:v>0.04</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6815987890828249</c:v>
                </c:pt>
                <c:pt idx="1">
                  <c:v>0.99102218438106049</c:v>
                </c:pt>
                <c:pt idx="2">
                  <c:v>0.99901234567901231</c:v>
                </c:pt>
                <c:pt idx="3">
                  <c:v>0.99985620358545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4560.0253164556962</c:v>
                </c:pt>
                <c:pt idx="1">
                  <c:v>5275.4193548387093</c:v>
                </c:pt>
                <c:pt idx="2">
                  <c:v>1055.75</c:v>
                </c:pt>
                <c:pt idx="3">
                  <c:v>44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3</c:v>
                </c:pt>
                <c:pt idx="1">
                  <c:v>0.54</c:v>
                </c:pt>
                <c:pt idx="2">
                  <c:v>0.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59693520416206847</c:v>
                </c:pt>
                <c:pt idx="1">
                  <c:v>0.89486573125229918</c:v>
                </c:pt>
                <c:pt idx="2">
                  <c:v>0.9997982027431815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3421.4096385542171</c:v>
                </c:pt>
                <c:pt idx="1">
                  <c:v>2624.6851851851852</c:v>
                </c:pt>
                <c:pt idx="2">
                  <c:v>745.059701492537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30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HYDRO 5 SENSITIVE 5 BLADE REFILL SENSITIVE 6CT</c:v>
                </c:pt>
                <c:pt idx="1">
                  <c:v>HYDRO 5 SENSITIVE 5 BLADE REFILL SENSITIVE 4CT</c:v>
                </c:pt>
              </c:strCache>
            </c:strRef>
          </c:cat>
          <c:val>
            <c:numRef>
              <c:f>Sheet1!$B$2:$B$3</c:f>
              <c:numCache>
                <c:formatCode>General</c:formatCode>
                <c:ptCount val="2"/>
                <c:pt idx="0">
                  <c:v>0.56000000000000005</c:v>
                </c:pt>
                <c:pt idx="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HYDRO 5 SENSITIVE 5 BLADE REFILL SENSITIVE 6CT</c:v>
                </c:pt>
                <c:pt idx="1">
                  <c:v>HYDRO 5 SENSITIVE 5 BLADE REFILL SENSITIVE 4CT</c:v>
                </c:pt>
              </c:strCache>
            </c:strRef>
          </c:cat>
          <c:val>
            <c:numRef>
              <c:f>Sheet1!$C$2:$C$3</c:f>
              <c:numCache>
                <c:formatCode>General</c:formatCode>
                <c:ptCount val="2"/>
                <c:pt idx="0">
                  <c:v>0.99570304801345044</c:v>
                </c:pt>
                <c:pt idx="1">
                  <c:v>0.999968368983111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HYDRO 5 SENSITIVE 5 BLADE REFILL SENSITIVE 6CT</c:v>
                </c:pt>
                <c:pt idx="1">
                  <c:v>HYDRO 5 SENSITIVE 5 BLADE REFILL SENSITIVE 4CT</c:v>
                </c:pt>
              </c:strCache>
            </c:strRef>
          </c:cat>
          <c:val>
            <c:numRef>
              <c:f>Sheet1!$D$2:$D$3</c:f>
              <c:numCache>
                <c:formatCode>General</c:formatCode>
                <c:ptCount val="2"/>
                <c:pt idx="0">
                  <c:v>7307.5535714285706</c:v>
                </c:pt>
                <c:pt idx="1">
                  <c:v>83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65</c:v>
                </c:pt>
                <c:pt idx="1">
                  <c:v>0.4</c:v>
                </c:pt>
                <c:pt idx="2">
                  <c:v>0.4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3847049341810691</c:v>
                </c:pt>
                <c:pt idx="1">
                  <c:v>0.90606847556789349</c:v>
                </c:pt>
                <c:pt idx="2">
                  <c:v>0.999759211167825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936.0153846153844</c:v>
                </c:pt>
                <c:pt idx="1">
                  <c:v>3361.8</c:v>
                </c:pt>
                <c:pt idx="2">
                  <c:v>1148.317073170731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B$2:$B$5</c:f>
              <c:numCache>
                <c:formatCode>General</c:formatCode>
                <c:ptCount val="4"/>
                <c:pt idx="0">
                  <c:v>0.8</c:v>
                </c:pt>
                <c:pt idx="1">
                  <c:v>0.49</c:v>
                </c:pt>
                <c:pt idx="2">
                  <c:v>0.05</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C$2:$C$5</c:f>
              <c:numCache>
                <c:formatCode>General</c:formatCode>
                <c:ptCount val="4"/>
                <c:pt idx="0">
                  <c:v>0.57928859156684276</c:v>
                </c:pt>
                <c:pt idx="1">
                  <c:v>0.98701867113656472</c:v>
                </c:pt>
                <c:pt idx="2">
                  <c:v>0.99921348922606079</c:v>
                </c:pt>
                <c:pt idx="3">
                  <c:v>0.999762033300236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5</c:f>
              <c:strCache>
                <c:ptCount val="4"/>
                <c:pt idx="0">
                  <c:v>HYDRO 5 SENSITIVE 5 BLADE REFILL SENSITIVE 6CT</c:v>
                </c:pt>
                <c:pt idx="1">
                  <c:v>HYDRO 5 SENSITIVE 5 BLADE REFILL SENSITIVE 12CT</c:v>
                </c:pt>
                <c:pt idx="2">
                  <c:v>SCHICK HYDRO 3 SENSITIVE 3 BLADE REFILL SENSITIVE 5CT</c:v>
                </c:pt>
                <c:pt idx="3">
                  <c:v>HYDRO 5 SENSITIVE 5 BLADE REFILL SENSITIVE 4CT</c:v>
                </c:pt>
              </c:strCache>
            </c:strRef>
          </c:cat>
          <c:val>
            <c:numRef>
              <c:f>Sheet1!$D$2:$D$5</c:f>
              <c:numCache>
                <c:formatCode>General</c:formatCode>
                <c:ptCount val="4"/>
                <c:pt idx="0">
                  <c:v>57541.387499999997</c:v>
                </c:pt>
                <c:pt idx="1">
                  <c:v>66122.918367346938</c:v>
                </c:pt>
                <c:pt idx="2">
                  <c:v>19381.2</c:v>
                </c:pt>
                <c:pt idx="3">
                  <c:v>435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B$2:$B$4</c:f>
              <c:numCache>
                <c:formatCode>General</c:formatCode>
                <c:ptCount val="3"/>
                <c:pt idx="0">
                  <c:v>0.86</c:v>
                </c:pt>
                <c:pt idx="1">
                  <c:v>0.6</c:v>
                </c:pt>
                <c:pt idx="2">
                  <c:v>0.7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C$2:$C$4</c:f>
              <c:numCache>
                <c:formatCode>General</c:formatCode>
                <c:ptCount val="3"/>
                <c:pt idx="0">
                  <c:v>0.6062132442774214</c:v>
                </c:pt>
                <c:pt idx="1">
                  <c:v>0.90715771801389944</c:v>
                </c:pt>
                <c:pt idx="2">
                  <c:v>0.9998481793641915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4</c:f>
              <c:strCache>
                <c:ptCount val="3"/>
                <c:pt idx="0">
                  <c:v>EQUATE EASY FIT 5 5 BLADE REFILL NORMAL 4CT</c:v>
                </c:pt>
                <c:pt idx="1">
                  <c:v>EQUATE EASY FIT 5 5 BLADE REFILL NORMAL 8CT</c:v>
                </c:pt>
                <c:pt idx="2">
                  <c:v>EQUATE EASY FIT 5 5 BLADE REFILL NORMAL 12CT</c:v>
                </c:pt>
              </c:strCache>
            </c:strRef>
          </c:cat>
          <c:val>
            <c:numRef>
              <c:f>Sheet1!$D$2:$D$4</c:f>
              <c:numCache>
                <c:formatCode>General</c:formatCode>
                <c:ptCount val="3"/>
                <c:pt idx="0">
                  <c:v>46244.011627906977</c:v>
                </c:pt>
                <c:pt idx="1">
                  <c:v>32905.133333333331</c:v>
                </c:pt>
                <c:pt idx="2">
                  <c:v>8564.563380281690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CREMO 5 BLADE REFILL NORMAL 4CT</c:v>
                </c:pt>
              </c:strCache>
            </c:strRef>
          </c:cat>
          <c:val>
            <c:numRef>
              <c:f>Sheet1!$B$2:$B$2</c:f>
              <c:numCache>
                <c:formatCode>General</c:formatCode>
                <c:ptCount val="1"/>
                <c:pt idx="0">
                  <c:v>7.000000000000000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CREMO 5 BLADE REFILL NORMAL 4CT</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CREMO 5 BLADE REFILL NORMAL 4CT</c:v>
                </c:pt>
              </c:strCache>
            </c:strRef>
          </c:cat>
          <c:val>
            <c:numRef>
              <c:f>Sheet1!$D$2:$D$2</c:f>
              <c:numCache>
                <c:formatCode>General</c:formatCode>
                <c:ptCount val="1"/>
                <c:pt idx="0">
                  <c:v>5990.28571428571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6C1C78E-E08F-4C86-A577-5B6A11178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FA975E-9E0B-489D-9CD8-A926D2E33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D7252C-F039-418B-B795-0F4673EBC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AC7647-E7BE-424F-80C4-F2EC80C11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BF118AE-A34A-4FBE-A9ED-A5513AD87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409F84-2813-400E-92AC-4822B723D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64BF86F-B66B-456C-83CD-25A8221F3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223</c:v>
                </c:pt>
                <c:pt idx="1">
                  <c:v>0.2606</c:v>
                </c:pt>
                <c:pt idx="2">
                  <c:v>-0.67210000000000003</c:v>
                </c:pt>
                <c:pt idx="3">
                  <c:v>0.32100000000000001</c:v>
                </c:pt>
                <c:pt idx="4">
                  <c:v>0.34960000000000002</c:v>
                </c:pt>
                <c:pt idx="5">
                  <c:v>0.39179999999999998</c:v>
                </c:pt>
                <c:pt idx="6">
                  <c:v>0.35170000000000001</c:v>
                </c:pt>
                <c:pt idx="7">
                  <c:v>0.36099999999999999</c:v>
                </c:pt>
                <c:pt idx="8">
                  <c:v>0.34610000000000002</c:v>
                </c:pt>
                <c:pt idx="9">
                  <c:v>0.2203</c:v>
                </c:pt>
                <c:pt idx="10">
                  <c:v>0.37019999999999997</c:v>
                </c:pt>
                <c:pt idx="11">
                  <c:v>0.36749999999999999</c:v>
                </c:pt>
                <c:pt idx="12">
                  <c:v>0.31940000000000002</c:v>
                </c:pt>
                <c:pt idx="13">
                  <c:v>0.28089999999999998</c:v>
                </c:pt>
                <c:pt idx="14">
                  <c:v>0.29509999999999997</c:v>
                </c:pt>
              </c:numCache>
            </c:numRef>
          </c:xVal>
          <c:yVal>
            <c:numRef>
              <c:f>Sheet1!$B$2:$B$16</c:f>
              <c:numCache>
                <c:formatCode>General</c:formatCode>
                <c:ptCount val="15"/>
                <c:pt idx="0">
                  <c:v>17181.197982345519</c:v>
                </c:pt>
                <c:pt idx="1">
                  <c:v>14944.044795783921</c:v>
                </c:pt>
                <c:pt idx="2">
                  <c:v>5644</c:v>
                </c:pt>
                <c:pt idx="3">
                  <c:v>68443.006369426745</c:v>
                </c:pt>
                <c:pt idx="4">
                  <c:v>6009.7767857142853</c:v>
                </c:pt>
                <c:pt idx="5">
                  <c:v>48994.894366197179</c:v>
                </c:pt>
                <c:pt idx="6">
                  <c:v>52579.062832800853</c:v>
                </c:pt>
                <c:pt idx="7">
                  <c:v>42879.101283880183</c:v>
                </c:pt>
                <c:pt idx="8">
                  <c:v>7261.4353312302837</c:v>
                </c:pt>
                <c:pt idx="9">
                  <c:v>75992.745535714275</c:v>
                </c:pt>
                <c:pt idx="10">
                  <c:v>42642.536842105263</c:v>
                </c:pt>
                <c:pt idx="11">
                  <c:v>21416.964285714279</c:v>
                </c:pt>
                <c:pt idx="12">
                  <c:v>6803.5545023696686</c:v>
                </c:pt>
                <c:pt idx="13">
                  <c:v>21986.73913043478</c:v>
                </c:pt>
                <c:pt idx="14">
                  <c:v>51342.777129521593</c:v>
                </c:pt>
              </c:numCache>
            </c:numRef>
          </c:yVal>
          <c:bubbleSize>
            <c:numRef>
              <c:f>Sheet1!$C$2:$C$16</c:f>
              <c:numCache>
                <c:formatCode>General</c:formatCode>
                <c:ptCount val="15"/>
                <c:pt idx="0">
                  <c:v>1058631.9765999999</c:v>
                </c:pt>
                <c:pt idx="1">
                  <c:v>838701.68579999998</c:v>
                </c:pt>
                <c:pt idx="2">
                  <c:v>8139.9551999999994</c:v>
                </c:pt>
                <c:pt idx="3">
                  <c:v>3648181.7445999999</c:v>
                </c:pt>
                <c:pt idx="4">
                  <c:v>350237.70730000013</c:v>
                </c:pt>
                <c:pt idx="5">
                  <c:v>2538781.9904</c:v>
                </c:pt>
                <c:pt idx="6">
                  <c:v>3200726.89</c:v>
                </c:pt>
                <c:pt idx="7">
                  <c:v>1920827.2086</c:v>
                </c:pt>
                <c:pt idx="8">
                  <c:v>301018.2378</c:v>
                </c:pt>
                <c:pt idx="9">
                  <c:v>2654418.0469</c:v>
                </c:pt>
                <c:pt idx="10">
                  <c:v>2551270.2801999999</c:v>
                </c:pt>
                <c:pt idx="11">
                  <c:v>75862.37519999998</c:v>
                </c:pt>
                <c:pt idx="12">
                  <c:v>390839.13900000002</c:v>
                </c:pt>
                <c:pt idx="13">
                  <c:v>72733.44779999998</c:v>
                </c:pt>
                <c:pt idx="14">
                  <c:v>3101731.209600001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297324D-3DCA-4116-B2E6-6611A29E6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A06A3E9-71F5-4F73-9DF0-5A1A15249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499D4C-4333-4AD3-8124-9778DEBFD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82BEC60-75A9-4D6D-B80A-097BFF0B9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BE7CB32-EA44-41D7-8E21-6FAAC795F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570B960-85E7-4E8A-9ACA-4C4659182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15B9831-DEC3-45DB-8809-89D67D649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729999999999998</c:v>
                </c:pt>
                <c:pt idx="1">
                  <c:v>0.3987</c:v>
                </c:pt>
                <c:pt idx="2">
                  <c:v>0.48370000000000002</c:v>
                </c:pt>
                <c:pt idx="3">
                  <c:v>0.4884</c:v>
                </c:pt>
                <c:pt idx="4">
                  <c:v>0.43</c:v>
                </c:pt>
                <c:pt idx="5">
                  <c:v>0.40289999999999998</c:v>
                </c:pt>
                <c:pt idx="6">
                  <c:v>0.5474</c:v>
                </c:pt>
                <c:pt idx="7">
                  <c:v>0.44769999999999999</c:v>
                </c:pt>
                <c:pt idx="8">
                  <c:v>0.29899999999999999</c:v>
                </c:pt>
                <c:pt idx="9">
                  <c:v>0.4032</c:v>
                </c:pt>
              </c:numCache>
            </c:numRef>
          </c:xVal>
          <c:yVal>
            <c:numRef>
              <c:f>Sheet1!$B$2:$B$11</c:f>
              <c:numCache>
                <c:formatCode>General</c:formatCode>
                <c:ptCount val="10"/>
                <c:pt idx="0">
                  <c:v>34693.635394456287</c:v>
                </c:pt>
                <c:pt idx="1">
                  <c:v>10233.43976777939</c:v>
                </c:pt>
                <c:pt idx="2">
                  <c:v>88856.375634517768</c:v>
                </c:pt>
                <c:pt idx="3">
                  <c:v>31615.11318242344</c:v>
                </c:pt>
                <c:pt idx="4">
                  <c:v>54222.520710059172</c:v>
                </c:pt>
                <c:pt idx="5">
                  <c:v>38536.181506849323</c:v>
                </c:pt>
                <c:pt idx="6">
                  <c:v>37190.417101147032</c:v>
                </c:pt>
                <c:pt idx="7">
                  <c:v>39700.241492864981</c:v>
                </c:pt>
                <c:pt idx="8">
                  <c:v>17923.486707566459</c:v>
                </c:pt>
                <c:pt idx="9">
                  <c:v>38983.218623481793</c:v>
                </c:pt>
              </c:numCache>
            </c:numRef>
          </c:yVal>
          <c:bubbleSize>
            <c:numRef>
              <c:f>Sheet1!$C$2:$C$11</c:f>
              <c:numCache>
                <c:formatCode>General</c:formatCode>
                <c:ptCount val="10"/>
                <c:pt idx="0">
                  <c:v>1798622.3696000001</c:v>
                </c:pt>
                <c:pt idx="1">
                  <c:v>423999.08850000001</c:v>
                </c:pt>
                <c:pt idx="2">
                  <c:v>4518773.5040000007</c:v>
                </c:pt>
                <c:pt idx="3">
                  <c:v>1214691.3791</c:v>
                </c:pt>
                <c:pt idx="4">
                  <c:v>2611438.9336000001</c:v>
                </c:pt>
                <c:pt idx="5">
                  <c:v>1343734.6551000001</c:v>
                </c:pt>
                <c:pt idx="6">
                  <c:v>1614221.3448999999</c:v>
                </c:pt>
                <c:pt idx="7">
                  <c:v>1997336.7135999999</c:v>
                </c:pt>
                <c:pt idx="8">
                  <c:v>1228819.4014000001</c:v>
                </c:pt>
                <c:pt idx="9">
                  <c:v>2298580.1269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D9EAAD-D4F5-4C67-8E0F-3D2E945FD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335AC49-DC04-47F7-A7FD-B19E7B5D5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0ED58EC9-2DF6-45CD-8ADE-066FC4284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C200B74-38AA-4488-8BA8-E25FC9DEB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706B68E-F7D7-4BFC-AC39-7A0569E16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5BF9855-C0F0-4166-B733-452FB06E3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C949705-AABC-4498-9943-C363C1096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0000000000001</c:v>
                </c:pt>
                <c:pt idx="1">
                  <c:v>0.3456000000000000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AF326D8-19D8-425E-9F7F-6B3A6F48C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2EA2DE3-E5BA-41BE-B3D8-AFB33C4F8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D6DA7DD-0F66-498C-BD9B-5FAE7C8A6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000CF1-D49B-4344-8A9A-257316751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74A1364-1005-44CB-9F1D-66F947B6A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57F0976-3DF1-4971-A28E-37BC1BBD5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2C077EC-A514-4E1B-A795-5A428C8D0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5</c:f>
              <c:numCache>
                <c:formatCode>General</c:formatCode>
                <c:ptCount val="14"/>
                <c:pt idx="0">
                  <c:v>0.29170000000000001</c:v>
                </c:pt>
                <c:pt idx="1">
                  <c:v>0.30980000000000002</c:v>
                </c:pt>
                <c:pt idx="2">
                  <c:v>0.32069999999999999</c:v>
                </c:pt>
                <c:pt idx="3">
                  <c:v>0.35680000000000001</c:v>
                </c:pt>
                <c:pt idx="4">
                  <c:v>0.39179999999999998</c:v>
                </c:pt>
                <c:pt idx="5">
                  <c:v>0.3579</c:v>
                </c:pt>
                <c:pt idx="6">
                  <c:v>0.36799999999999999</c:v>
                </c:pt>
                <c:pt idx="7">
                  <c:v>0.35389999999999999</c:v>
                </c:pt>
                <c:pt idx="8">
                  <c:v>0.21940000000000001</c:v>
                </c:pt>
                <c:pt idx="9">
                  <c:v>0.37519999999999998</c:v>
                </c:pt>
                <c:pt idx="10">
                  <c:v>0.35849999999999999</c:v>
                </c:pt>
                <c:pt idx="11">
                  <c:v>0.32700000000000001</c:v>
                </c:pt>
                <c:pt idx="12">
                  <c:v>0.20269999999999999</c:v>
                </c:pt>
                <c:pt idx="13">
                  <c:v>0.30099999999999999</c:v>
                </c:pt>
              </c:numCache>
            </c:numRef>
          </c:xVal>
          <c:yVal>
            <c:numRef>
              <c:f>Sheet1!$B$2:$B$15</c:f>
              <c:numCache>
                <c:formatCode>General</c:formatCode>
                <c:ptCount val="14"/>
                <c:pt idx="0">
                  <c:v>1094.75</c:v>
                </c:pt>
                <c:pt idx="1">
                  <c:v>874</c:v>
                </c:pt>
                <c:pt idx="2">
                  <c:v>4560.0253164556962</c:v>
                </c:pt>
                <c:pt idx="3">
                  <c:v>413.27272727272731</c:v>
                </c:pt>
                <c:pt idx="4">
                  <c:v>3435.0481927710839</c:v>
                </c:pt>
                <c:pt idx="5">
                  <c:v>4372</c:v>
                </c:pt>
                <c:pt idx="6">
                  <c:v>3373.205882352941</c:v>
                </c:pt>
                <c:pt idx="7">
                  <c:v>574.65625</c:v>
                </c:pt>
                <c:pt idx="8">
                  <c:v>5275.4193548387093</c:v>
                </c:pt>
                <c:pt idx="9">
                  <c:v>3032.8736842105259</c:v>
                </c:pt>
                <c:pt idx="10">
                  <c:v>999.2</c:v>
                </c:pt>
                <c:pt idx="11">
                  <c:v>506.07142857142861</c:v>
                </c:pt>
                <c:pt idx="12">
                  <c:v>1055.75</c:v>
                </c:pt>
                <c:pt idx="13">
                  <c:v>3945.977011494253</c:v>
                </c:pt>
              </c:numCache>
            </c:numRef>
          </c:yVal>
          <c:bubbleSize>
            <c:numRef>
              <c:f>Sheet1!$C$2:$C$15</c:f>
              <c:numCache>
                <c:formatCode>General</c:formatCode>
                <c:ptCount val="14"/>
                <c:pt idx="0">
                  <c:v>3101.6833000000001</c:v>
                </c:pt>
                <c:pt idx="1">
                  <c:v>2412.9196000000002</c:v>
                </c:pt>
                <c:pt idx="2">
                  <c:v>244698.5876</c:v>
                </c:pt>
                <c:pt idx="3">
                  <c:v>23392.570500000002</c:v>
                </c:pt>
                <c:pt idx="4">
                  <c:v>173389.4657</c:v>
                </c:pt>
                <c:pt idx="5">
                  <c:v>263862.60159999999</c:v>
                </c:pt>
                <c:pt idx="6">
                  <c:v>144963.85519999999</c:v>
                </c:pt>
                <c:pt idx="7">
                  <c:v>23760.718799999999</c:v>
                </c:pt>
                <c:pt idx="8">
                  <c:v>127660.91680000001</c:v>
                </c:pt>
                <c:pt idx="9">
                  <c:v>180016.2997</c:v>
                </c:pt>
                <c:pt idx="10">
                  <c:v>3205.0187999999998</c:v>
                </c:pt>
                <c:pt idx="11">
                  <c:v>28611.328399999999</c:v>
                </c:pt>
                <c:pt idx="12">
                  <c:v>3367.1781000000001</c:v>
                </c:pt>
                <c:pt idx="13">
                  <c:v>239980.5024</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6CT</c:v>
                  </c:pt>
                  <c:pt idx="3">
                    <c:v>SCHICK XTREME 3 SENSITIVE GREEN BLACK 3 BLADE DISPOSABLE SENSITIVE 4CT</c:v>
                  </c:pt>
                  <c:pt idx="4">
                    <c:v>HYDRO 5 SENSITIVE 5 BLADE RAZOR SENSITIVE 3CT</c:v>
                  </c:pt>
                  <c:pt idx="5">
                    <c:v>SCHICK XTREME 2 SENSITIVE 2 BLADE DISPOSABLE NORMAL 12CT</c:v>
                  </c:pt>
                  <c:pt idx="6">
                    <c:v>SCHICK XTREME 3 SENSITIVE BLACK GREEN 3 BLADE DISPOSABLE SENSITIVE 12CT</c:v>
                  </c:pt>
                  <c:pt idx="7">
                    <c:v>SCHICK XTREME 3 SENSITIVE GREEN BLACK 3 BLADE DISPOSABLE SENSITIVE 12CT</c:v>
                  </c:pt>
                  <c:pt idx="8">
                    <c:v>HYDRO 5 SENSITIVE 5 BLADE REFILL SENSITIVE 12CT</c:v>
                  </c:pt>
                  <c:pt idx="9">
                    <c:v>SCHICK XTREME 3 SENSITIVE BLACK 3 BLADE DISPOSABLE SENSITIVE 4CT</c:v>
                  </c:pt>
                  <c:pt idx="10">
                    <c:v>SCHICK HYDRO 3 SENSITIVE 3 BLADE RAZOR SENSITIVE 4CT</c:v>
                  </c:pt>
                  <c:pt idx="11">
                    <c:v>SCHICK XTREME 3 SENSITIVE GREEN BLACK 3 BLADE DISPOSABLE SENSITIVE 8CT</c:v>
                  </c:pt>
                  <c:pt idx="12">
                    <c:v>SCHICK HYDRO 3 SENSITIVE 3 BLADE REFILL SENSITIVE 5CT</c:v>
                  </c:pt>
                  <c:pt idx="13">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BCCD921-1036-4914-AD2E-BC3D92F0A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DC007D-3538-4C41-9ADC-6CFC333C6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7275A8-56E2-4787-AFA8-D68F27BE3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B8D0E7C-E0D2-4E56-9295-55602320E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54E9361-9F53-4C65-9687-192A0D40A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4D15B3F-9893-435F-B1E6-62C452479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448BA0A-49AC-4F2E-B9C3-CF04345D8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5319999999999999</c:v>
                </c:pt>
                <c:pt idx="1">
                  <c:v>0.39739999999999998</c:v>
                </c:pt>
                <c:pt idx="2">
                  <c:v>0.48870000000000002</c:v>
                </c:pt>
                <c:pt idx="3">
                  <c:v>0.48749999999999999</c:v>
                </c:pt>
                <c:pt idx="4">
                  <c:v>0.42920000000000003</c:v>
                </c:pt>
                <c:pt idx="5">
                  <c:v>0.39600000000000002</c:v>
                </c:pt>
                <c:pt idx="6">
                  <c:v>0.55089999999999995</c:v>
                </c:pt>
                <c:pt idx="7">
                  <c:v>0.44790000000000002</c:v>
                </c:pt>
                <c:pt idx="8">
                  <c:v>0.30880000000000002</c:v>
                </c:pt>
                <c:pt idx="9">
                  <c:v>0.40329999999999999</c:v>
                </c:pt>
              </c:numCache>
            </c:numRef>
          </c:xVal>
          <c:yVal>
            <c:numRef>
              <c:f>Sheet1!$B$2:$B$11</c:f>
              <c:numCache>
                <c:formatCode>General</c:formatCode>
                <c:ptCount val="10"/>
                <c:pt idx="0">
                  <c:v>2490.9578947368418</c:v>
                </c:pt>
                <c:pt idx="1">
                  <c:v>745.05970149253733</c:v>
                </c:pt>
                <c:pt idx="2">
                  <c:v>6191.2653061224491</c:v>
                </c:pt>
                <c:pt idx="3">
                  <c:v>2192.542857142857</c:v>
                </c:pt>
                <c:pt idx="4">
                  <c:v>3421.4096385542171</c:v>
                </c:pt>
                <c:pt idx="5">
                  <c:v>2624.6851851851852</c:v>
                </c:pt>
                <c:pt idx="6">
                  <c:v>2380.0744680851062</c:v>
                </c:pt>
                <c:pt idx="7">
                  <c:v>2854.1777777777779</c:v>
                </c:pt>
                <c:pt idx="8">
                  <c:v>1268.855670103093</c:v>
                </c:pt>
                <c:pt idx="9">
                  <c:v>3147.9191919191921</c:v>
                </c:pt>
              </c:numCache>
            </c:numRef>
          </c:yVal>
          <c:bubbleSize>
            <c:numRef>
              <c:f>Sheet1!$C$2:$C$11</c:f>
              <c:numCache>
                <c:formatCode>General</c:formatCode>
                <c:ptCount val="10"/>
                <c:pt idx="0">
                  <c:v>129385.6139</c:v>
                </c:pt>
                <c:pt idx="1">
                  <c:v>30082.322400000001</c:v>
                </c:pt>
                <c:pt idx="2">
                  <c:v>310226.51689999999</c:v>
                </c:pt>
                <c:pt idx="3">
                  <c:v>78650.092899999989</c:v>
                </c:pt>
                <c:pt idx="4">
                  <c:v>162101.8536</c:v>
                </c:pt>
                <c:pt idx="5">
                  <c:v>85603.147899999982</c:v>
                </c:pt>
                <c:pt idx="6">
                  <c:v>100468.05989999999</c:v>
                </c:pt>
                <c:pt idx="7">
                  <c:v>141820.57579999999</c:v>
                </c:pt>
                <c:pt idx="8">
                  <c:v>85078.340200000021</c:v>
                </c:pt>
                <c:pt idx="9">
                  <c:v>185958.4334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7816279-46FA-433C-9696-8847FEE37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E702AB4-3E38-4FF8-B1F9-A53CC67B4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CE9CD95-C3C5-4E6B-9B34-CDF9ACA62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5B08D4D-D602-4B4C-8BE0-302F82F8C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CBD21F2-5BEA-4894-889D-D4D0F3AAB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3C2E7F-9A04-480A-9B84-508505197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3DECF25-61AA-4B01-A6FF-845734F21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5DB117B-5030-45FF-8954-36C2E1069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7F6CE1-631A-4877-A0D2-9CFFF7182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A5E0457-5678-41F1-AAF9-5A2FA335B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BF2DEA2-2706-48A0-88AF-51C9EA36C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8561E5A-091E-401D-8ECD-20E486123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C83DF1-D19C-4DCF-B76C-0F5C5B5D4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E229A50-A3FE-4AC2-B7DB-3D9B8ACC8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91049999999999998</c:v>
                </c:pt>
                <c:pt idx="1">
                  <c:v>0.32050000000000001</c:v>
                </c:pt>
                <c:pt idx="2">
                  <c:v>0.35060000000000002</c:v>
                </c:pt>
                <c:pt idx="3">
                  <c:v>0.39190000000000003</c:v>
                </c:pt>
                <c:pt idx="4">
                  <c:v>0.35320000000000001</c:v>
                </c:pt>
                <c:pt idx="5">
                  <c:v>0.35849999999999999</c:v>
                </c:pt>
                <c:pt idx="6">
                  <c:v>0.3458</c:v>
                </c:pt>
                <c:pt idx="7">
                  <c:v>0.3705</c:v>
                </c:pt>
                <c:pt idx="8">
                  <c:v>0.32150000000000001</c:v>
                </c:pt>
                <c:pt idx="9">
                  <c:v>0.29580000000000001</c:v>
                </c:pt>
              </c:numCache>
            </c:numRef>
          </c:xVal>
          <c:yVal>
            <c:numRef>
              <c:f>Sheet1!$B$2:$B$11</c:f>
              <c:numCache>
                <c:formatCode>General</c:formatCode>
                <c:ptCount val="10"/>
                <c:pt idx="0">
                  <c:v>839</c:v>
                </c:pt>
                <c:pt idx="1">
                  <c:v>7307.5535714285706</c:v>
                </c:pt>
                <c:pt idx="2">
                  <c:v>536.43661971830988</c:v>
                </c:pt>
                <c:pt idx="3">
                  <c:v>4743.377049180328</c:v>
                </c:pt>
                <c:pt idx="4">
                  <c:v>4400.727272727273</c:v>
                </c:pt>
                <c:pt idx="5">
                  <c:v>4859.9333333333334</c:v>
                </c:pt>
                <c:pt idx="6">
                  <c:v>743.54166666666663</c:v>
                </c:pt>
                <c:pt idx="7">
                  <c:v>3557.6049382716051</c:v>
                </c:pt>
                <c:pt idx="8">
                  <c:v>609.59016393442619</c:v>
                </c:pt>
                <c:pt idx="9">
                  <c:v>5031.3076923076924</c:v>
                </c:pt>
              </c:numCache>
            </c:numRef>
          </c:yVal>
          <c:bubbleSize>
            <c:numRef>
              <c:f>Sheet1!$C$2:$C$11</c:f>
              <c:numCache>
                <c:formatCode>General</c:formatCode>
                <c:ptCount val="10"/>
                <c:pt idx="0">
                  <c:v>1341.184</c:v>
                </c:pt>
                <c:pt idx="1">
                  <c:v>278077.10879999999</c:v>
                </c:pt>
                <c:pt idx="2">
                  <c:v>24732.3076</c:v>
                </c:pt>
                <c:pt idx="3">
                  <c:v>175947.76449999999</c:v>
                </c:pt>
                <c:pt idx="4">
                  <c:v>219178.04300000001</c:v>
                </c:pt>
                <c:pt idx="5">
                  <c:v>93532.547699999996</c:v>
                </c:pt>
                <c:pt idx="6">
                  <c:v>11674.0008</c:v>
                </c:pt>
                <c:pt idx="7">
                  <c:v>181395.77009999999</c:v>
                </c:pt>
                <c:pt idx="8">
                  <c:v>25231.624599999999</c:v>
                </c:pt>
                <c:pt idx="9">
                  <c:v>230309.52960000001</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SCHICK XTREME 3 SENSITIVE GREEN BLACK 3 BLADE DISPOSABLE SENSITIVE 4CT</c:v>
                  </c:pt>
                  <c:pt idx="3">
                    <c:v>HYDRO 5 SENSITIVE 5 BLADE RAZOR SENSITIVE 3CT</c:v>
                  </c:pt>
                  <c:pt idx="4">
                    <c:v>SCHICK XTREME 2 SENSITIVE 2 BLADE DISPOSABLE NORMAL 12CT</c:v>
                  </c:pt>
                  <c:pt idx="5">
                    <c:v>SCHICK XTREME 3 SENSITIVE BLACK GREEN 3 BLADE DISPOSABLE SENSITIVE 12CT</c:v>
                  </c:pt>
                  <c:pt idx="6">
                    <c:v>SCHICK XTREME 3 SENSITIVE GREEN BLACK 3 BLADE DISPOSABLE SENSITIVE 12CT</c:v>
                  </c:pt>
                  <c:pt idx="7">
                    <c:v>SCHICK XTREME 3 SENSITIVE BLACK 3 BLADE DISPOSABLE SENSITIVE 4CT</c:v>
                  </c:pt>
                  <c:pt idx="8">
                    <c:v>SCHICK XTREME 3 SENSITIVE GREEN BLACK 3 BLADE DISPOSABLE SENSITIVE 8CT</c:v>
                  </c:pt>
                  <c:pt idx="9">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EC4848-958B-4E4A-A2E2-206FF179F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CB439F-2D73-4FAD-8009-0FA293A3D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7B6535-A1C1-468F-8488-5715CE17A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4165922-CFF3-44B4-8BE8-68281F212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05B678-A898-4473-A538-6F8722235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FDFA38-8AED-4B55-954F-FD12705DB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A13DFEC-E7EE-4A8F-91E9-5843E4676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800000000000001</c:v>
                </c:pt>
                <c:pt idx="1">
                  <c:v>0.39889999999999998</c:v>
                </c:pt>
                <c:pt idx="2">
                  <c:v>0.4844</c:v>
                </c:pt>
                <c:pt idx="3">
                  <c:v>0.48880000000000001</c:v>
                </c:pt>
                <c:pt idx="4">
                  <c:v>0.43030000000000002</c:v>
                </c:pt>
                <c:pt idx="5">
                  <c:v>0.35830000000000001</c:v>
                </c:pt>
                <c:pt idx="6">
                  <c:v>0.54790000000000005</c:v>
                </c:pt>
                <c:pt idx="7">
                  <c:v>0.44729999999999998</c:v>
                </c:pt>
                <c:pt idx="8">
                  <c:v>0.30309999999999998</c:v>
                </c:pt>
                <c:pt idx="9">
                  <c:v>0.4032</c:v>
                </c:pt>
              </c:numCache>
            </c:numRef>
          </c:xVal>
          <c:yVal>
            <c:numRef>
              <c:f>Sheet1!$B$2:$B$11</c:f>
              <c:numCache>
                <c:formatCode>General</c:formatCode>
                <c:ptCount val="10"/>
                <c:pt idx="0">
                  <c:v>2923.9189189189192</c:v>
                </c:pt>
                <c:pt idx="1">
                  <c:v>1148.3170731707321</c:v>
                </c:pt>
                <c:pt idx="2">
                  <c:v>5807.0109890109889</c:v>
                </c:pt>
                <c:pt idx="3">
                  <c:v>3302.6981132075471</c:v>
                </c:pt>
                <c:pt idx="4">
                  <c:v>4936.0153846153844</c:v>
                </c:pt>
                <c:pt idx="5">
                  <c:v>3361.8</c:v>
                </c:pt>
                <c:pt idx="6">
                  <c:v>2862.6341463414628</c:v>
                </c:pt>
                <c:pt idx="7">
                  <c:v>3479.353846153846</c:v>
                </c:pt>
                <c:pt idx="8">
                  <c:v>1727.1789473684209</c:v>
                </c:pt>
                <c:pt idx="9">
                  <c:v>3081.3052631578948</c:v>
                </c:pt>
              </c:numCache>
            </c:numRef>
          </c:yVal>
          <c:bubbleSize>
            <c:numRef>
              <c:f>Sheet1!$C$2:$C$11</c:f>
              <c:numCache>
                <c:formatCode>General</c:formatCode>
                <c:ptCount val="10"/>
                <c:pt idx="0">
                  <c:v>119428.2879</c:v>
                </c:pt>
                <c:pt idx="1">
                  <c:v>28301.748800000001</c:v>
                </c:pt>
                <c:pt idx="2">
                  <c:v>272475.62770000001</c:v>
                </c:pt>
                <c:pt idx="3">
                  <c:v>89489.170400000003</c:v>
                </c:pt>
                <c:pt idx="4">
                  <c:v>182797.47649999999</c:v>
                </c:pt>
                <c:pt idx="5">
                  <c:v>86297.400300000008</c:v>
                </c:pt>
                <c:pt idx="6">
                  <c:v>106130.8149</c:v>
                </c:pt>
                <c:pt idx="7">
                  <c:v>125001.96189999999</c:v>
                </c:pt>
                <c:pt idx="8">
                  <c:v>114348.9244</c:v>
                </c:pt>
                <c:pt idx="9">
                  <c:v>174687.4378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EC677B1-BCE7-43EF-90BA-5788DC2D4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6DFB63C-88BC-4787-9F7A-D7C414FCB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97F8F1-FE16-4F6B-A025-2AE9DF27E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A1D1B4-CA5A-4DE1-BEA2-0F2475D12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A41D7FA-97CD-41FE-8618-F4F3B7551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2167A7D-2070-41B0-B430-09A454583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32F427-D029-41C9-A6FB-C7FA9F405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2228</c:v>
                </c:pt>
                <c:pt idx="1">
                  <c:v>0.26040000000000002</c:v>
                </c:pt>
                <c:pt idx="2">
                  <c:v>-0.64170000000000005</c:v>
                </c:pt>
                <c:pt idx="3">
                  <c:v>0.3211</c:v>
                </c:pt>
                <c:pt idx="4">
                  <c:v>0.34889999999999999</c:v>
                </c:pt>
                <c:pt idx="5">
                  <c:v>0.39179999999999998</c:v>
                </c:pt>
                <c:pt idx="6">
                  <c:v>0.35099999999999998</c:v>
                </c:pt>
                <c:pt idx="7">
                  <c:v>0.36049999999999999</c:v>
                </c:pt>
                <c:pt idx="8">
                  <c:v>0.34549999999999997</c:v>
                </c:pt>
                <c:pt idx="9">
                  <c:v>0.2205</c:v>
                </c:pt>
                <c:pt idx="10">
                  <c:v>0.36980000000000002</c:v>
                </c:pt>
                <c:pt idx="11">
                  <c:v>0.3679</c:v>
                </c:pt>
                <c:pt idx="12">
                  <c:v>0.31850000000000001</c:v>
                </c:pt>
                <c:pt idx="13">
                  <c:v>0.2843</c:v>
                </c:pt>
                <c:pt idx="14">
                  <c:v>0.29449999999999998</c:v>
                </c:pt>
              </c:numCache>
            </c:numRef>
          </c:xVal>
          <c:yVal>
            <c:numRef>
              <c:f>Sheet1!$B$2:$B$16</c:f>
              <c:numCache>
                <c:formatCode>General</c:formatCode>
                <c:ptCount val="15"/>
                <c:pt idx="0">
                  <c:v>14923.912087912089</c:v>
                </c:pt>
                <c:pt idx="1">
                  <c:v>12997.022988505751</c:v>
                </c:pt>
                <c:pt idx="2">
                  <c:v>4359</c:v>
                </c:pt>
                <c:pt idx="3">
                  <c:v>57541.387499999997</c:v>
                </c:pt>
                <c:pt idx="4">
                  <c:v>5099.131868131868</c:v>
                </c:pt>
                <c:pt idx="5">
                  <c:v>41378.275862068956</c:v>
                </c:pt>
                <c:pt idx="6">
                  <c:v>44077.368421052633</c:v>
                </c:pt>
                <c:pt idx="7">
                  <c:v>36036.28767123288</c:v>
                </c:pt>
                <c:pt idx="8">
                  <c:v>6147.757575757576</c:v>
                </c:pt>
                <c:pt idx="9">
                  <c:v>66122.918367346938</c:v>
                </c:pt>
                <c:pt idx="10">
                  <c:v>36195.333333333343</c:v>
                </c:pt>
                <c:pt idx="11">
                  <c:v>19149.166666666672</c:v>
                </c:pt>
                <c:pt idx="12">
                  <c:v>5750.2906976744189</c:v>
                </c:pt>
                <c:pt idx="13">
                  <c:v>19381.2</c:v>
                </c:pt>
                <c:pt idx="14">
                  <c:v>42870.586206896551</c:v>
                </c:pt>
              </c:numCache>
            </c:numRef>
          </c:yVal>
          <c:bubbleSize>
            <c:numRef>
              <c:f>Sheet1!$C$2:$C$16</c:f>
              <c:numCache>
                <c:formatCode>General</c:formatCode>
                <c:ptCount val="15"/>
                <c:pt idx="0">
                  <c:v>1055523.5941999999</c:v>
                </c:pt>
                <c:pt idx="1">
                  <c:v>836275.50840000005</c:v>
                </c:pt>
                <c:pt idx="2">
                  <c:v>6169.4463999999998</c:v>
                </c:pt>
                <c:pt idx="3">
                  <c:v>3125406.0482000001</c:v>
                </c:pt>
                <c:pt idx="4">
                  <c:v>302112.82919999998</c:v>
                </c:pt>
                <c:pt idx="5">
                  <c:v>2189444.7601999999</c:v>
                </c:pt>
                <c:pt idx="6">
                  <c:v>2717686.2453999999</c:v>
                </c:pt>
                <c:pt idx="7">
                  <c:v>1682330.8056999999</c:v>
                </c:pt>
                <c:pt idx="8">
                  <c:v>265583.51819999999</c:v>
                </c:pt>
                <c:pt idx="9">
                  <c:v>2525616.0184999998</c:v>
                </c:pt>
                <c:pt idx="10">
                  <c:v>2189858.2104000002</c:v>
                </c:pt>
                <c:pt idx="11">
                  <c:v>72621.147599999997</c:v>
                </c:pt>
                <c:pt idx="12">
                  <c:v>336996.18599999999</c:v>
                </c:pt>
                <c:pt idx="13">
                  <c:v>69360.267600000006</c:v>
                </c:pt>
                <c:pt idx="14">
                  <c:v>2631441.177600000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Cremo</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18F33E8-4011-4029-94E2-2AE91739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5238A4F-98AB-446A-8210-A5CEE0E1D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153F3F-7721-42C7-ACF6-A56C73087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1110304-9EC8-4342-9073-707997974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DFE489E-B8B7-42F0-BBE1-3BE4BB35C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B79F08-F983-4194-B37B-5A54AD5EE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7B2B462-382E-4ACA-9FB2-525D8DF78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4669999999999999</c:v>
                </c:pt>
                <c:pt idx="1">
                  <c:v>0.3987</c:v>
                </c:pt>
                <c:pt idx="2">
                  <c:v>0.48330000000000001</c:v>
                </c:pt>
                <c:pt idx="3">
                  <c:v>0.4884</c:v>
                </c:pt>
                <c:pt idx="4">
                  <c:v>0.43009999999999998</c:v>
                </c:pt>
                <c:pt idx="5">
                  <c:v>0.40649999999999997</c:v>
                </c:pt>
                <c:pt idx="6">
                  <c:v>0.54710000000000003</c:v>
                </c:pt>
                <c:pt idx="7">
                  <c:v>0.44779999999999998</c:v>
                </c:pt>
                <c:pt idx="8">
                  <c:v>0.29770000000000002</c:v>
                </c:pt>
                <c:pt idx="9">
                  <c:v>0.4032</c:v>
                </c:pt>
              </c:numCache>
            </c:numRef>
          </c:xVal>
          <c:yVal>
            <c:numRef>
              <c:f>Sheet1!$B$2:$B$11</c:f>
              <c:numCache>
                <c:formatCode>General</c:formatCode>
                <c:ptCount val="10"/>
                <c:pt idx="0">
                  <c:v>29486.863157894739</c:v>
                </c:pt>
                <c:pt idx="1">
                  <c:v>8564.5633802816901</c:v>
                </c:pt>
                <c:pt idx="2">
                  <c:v>76941.121212121216</c:v>
                </c:pt>
                <c:pt idx="3">
                  <c:v>26568.493506493509</c:v>
                </c:pt>
                <c:pt idx="4">
                  <c:v>46244.011627906977</c:v>
                </c:pt>
                <c:pt idx="5">
                  <c:v>32905.133333333331</c:v>
                </c:pt>
                <c:pt idx="6">
                  <c:v>32042.247422680412</c:v>
                </c:pt>
                <c:pt idx="7">
                  <c:v>33695.247311827959</c:v>
                </c:pt>
                <c:pt idx="8">
                  <c:v>14956.693877551021</c:v>
                </c:pt>
                <c:pt idx="9">
                  <c:v>32799.737373737371</c:v>
                </c:pt>
              </c:numCache>
            </c:numRef>
          </c:yVal>
          <c:bubbleSize>
            <c:numRef>
              <c:f>Sheet1!$C$2:$C$11</c:f>
              <c:numCache>
                <c:formatCode>General</c:formatCode>
                <c:ptCount val="10"/>
                <c:pt idx="0">
                  <c:v>1549808.4678</c:v>
                </c:pt>
                <c:pt idx="1">
                  <c:v>365615.01729999989</c:v>
                </c:pt>
                <c:pt idx="2">
                  <c:v>3936071.3594</c:v>
                </c:pt>
                <c:pt idx="3">
                  <c:v>1046552.1158</c:v>
                </c:pt>
                <c:pt idx="4">
                  <c:v>2266539.6035000002</c:v>
                </c:pt>
                <c:pt idx="5">
                  <c:v>1171834.1069</c:v>
                </c:pt>
                <c:pt idx="6">
                  <c:v>1407622.4701</c:v>
                </c:pt>
                <c:pt idx="7">
                  <c:v>1730514.1758999999</c:v>
                </c:pt>
                <c:pt idx="8">
                  <c:v>1029392.1368</c:v>
                </c:pt>
                <c:pt idx="9">
                  <c:v>1937934.2557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DB283CC-73C7-4B70-B246-1F276528A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E432403-7121-442C-9FC6-5E520875A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41672C1-84A1-4719-9520-3A8E85F9F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0005411-1CC2-4E21-B754-9BAF3B7D4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0BA134B-2C87-4324-B5CA-7EA1D6EB2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930675-09A4-4B49-B7D7-83B678674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3501B98-9F18-4A0F-8EB6-08A57441F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59999999999998</c:v>
                </c:pt>
                <c:pt idx="1">
                  <c:v>0.34639999999999999</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64C486A-C355-4E98-83C4-DC136841D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709729-941B-45D8-93F1-285F66104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474BBE-D62A-42F5-9CE7-622F1617C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35F122-06DE-4165-95FC-A88C3814E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3434F6-ACCB-4AB4-AA9A-56BF3BA51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C7C153A-4490-4BED-9968-E3EC17BF0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63BD88A-E2B0-4145-8871-91B5D8A1C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23</c:v>
                </c:pt>
                <c:pt idx="1">
                  <c:v>-0.67210000000000003</c:v>
                </c:pt>
                <c:pt idx="2">
                  <c:v>0.32100000000000001</c:v>
                </c:pt>
                <c:pt idx="3">
                  <c:v>0.39179999999999998</c:v>
                </c:pt>
                <c:pt idx="4">
                  <c:v>0.2203</c:v>
                </c:pt>
                <c:pt idx="5">
                  <c:v>0.36749999999999999</c:v>
                </c:pt>
                <c:pt idx="6">
                  <c:v>0.28089999999999998</c:v>
                </c:pt>
              </c:numCache>
            </c:numRef>
          </c:xVal>
          <c:yVal>
            <c:numRef>
              <c:f>Sheet1!$B$2:$B$8</c:f>
              <c:numCache>
                <c:formatCode>General</c:formatCode>
                <c:ptCount val="7"/>
                <c:pt idx="0">
                  <c:v>17181.197982345519</c:v>
                </c:pt>
                <c:pt idx="1">
                  <c:v>5644</c:v>
                </c:pt>
                <c:pt idx="2">
                  <c:v>68443.006369426745</c:v>
                </c:pt>
                <c:pt idx="3">
                  <c:v>48994.894366197179</c:v>
                </c:pt>
                <c:pt idx="4">
                  <c:v>75992.745535714275</c:v>
                </c:pt>
                <c:pt idx="5">
                  <c:v>21416.964285714279</c:v>
                </c:pt>
                <c:pt idx="6">
                  <c:v>21986.73913043478</c:v>
                </c:pt>
              </c:numCache>
            </c:numRef>
          </c:yVal>
          <c:bubbleSize>
            <c:numRef>
              <c:f>Sheet1!$C$2:$C$8</c:f>
              <c:numCache>
                <c:formatCode>General</c:formatCode>
                <c:ptCount val="7"/>
                <c:pt idx="0">
                  <c:v>1058631.9765999999</c:v>
                </c:pt>
                <c:pt idx="1">
                  <c:v>8139.9551999999994</c:v>
                </c:pt>
                <c:pt idx="2">
                  <c:v>3648181.7445999999</c:v>
                </c:pt>
                <c:pt idx="3">
                  <c:v>2538781.9904</c:v>
                </c:pt>
                <c:pt idx="4">
                  <c:v>2654418.0469</c:v>
                </c:pt>
                <c:pt idx="5">
                  <c:v>75862.37519999998</c:v>
                </c:pt>
                <c:pt idx="6">
                  <c:v>72733.4477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B6063BD-BFDD-4517-B1C5-ACA254B1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CC1629-6095-4FAA-8492-C635E1B4F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126EE3C-D4C7-49F9-900D-7BBCB8D22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458C2D-5982-401A-AB00-F939A2090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26ABBDB-D5F6-402E-9817-BED239217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16C1875-D331-4D5C-9CA0-A822410A9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22FD997-4ABE-47C5-98B3-1488D7EA5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7</c:v>
                </c:pt>
                <c:pt idx="1">
                  <c:v>0.4884</c:v>
                </c:pt>
                <c:pt idx="2">
                  <c:v>0.43</c:v>
                </c:pt>
                <c:pt idx="3">
                  <c:v>0.40289999999999998</c:v>
                </c:pt>
              </c:numCache>
            </c:numRef>
          </c:xVal>
          <c:yVal>
            <c:numRef>
              <c:f>Sheet1!$B$2:$B$5</c:f>
              <c:numCache>
                <c:formatCode>General</c:formatCode>
                <c:ptCount val="4"/>
                <c:pt idx="0">
                  <c:v>10233.43976777939</c:v>
                </c:pt>
                <c:pt idx="1">
                  <c:v>31615.11318242344</c:v>
                </c:pt>
                <c:pt idx="2">
                  <c:v>54222.520710059172</c:v>
                </c:pt>
                <c:pt idx="3">
                  <c:v>38536.181506849323</c:v>
                </c:pt>
              </c:numCache>
            </c:numRef>
          </c:yVal>
          <c:bubbleSize>
            <c:numRef>
              <c:f>Sheet1!$C$2:$C$5</c:f>
              <c:numCache>
                <c:formatCode>General</c:formatCode>
                <c:ptCount val="4"/>
                <c:pt idx="0">
                  <c:v>423999.08850000001</c:v>
                </c:pt>
                <c:pt idx="1">
                  <c:v>1214691.3791</c:v>
                </c:pt>
                <c:pt idx="2">
                  <c:v>2611438.9336000001</c:v>
                </c:pt>
                <c:pt idx="3">
                  <c:v>1343734.6551000001</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6A04EDD-433C-494D-995B-92D73173D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5E70F0-D5B9-4FDF-A45B-9D7863408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9B445D20-8274-4925-A30C-E05856BE8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DF85A35-036B-4554-8F4A-DFDC7C777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DF29679-7CF5-4CA3-B4EC-7F48CA711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DF5DE5B-C642-4406-84CD-651B1C3E8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3C1A2BF-8C6D-450E-84DB-289B276FF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80000000000001</c:v>
                </c:pt>
                <c:pt idx="1">
                  <c:v>0.3456000000000000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C0AC6C-B4DD-45DF-8DAC-90DA59417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D163648-A724-4C2B-B52A-3DC1BFDCE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AEA20D-044C-47EA-82C7-B20E5B02F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DD6B469-0063-435B-A7F9-BD6D654AA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976DCEE-4950-429A-A2E5-0015775DB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EDA42D7-0879-468F-91C9-BD118C67B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22F6E0A-8134-4A95-997E-4618A17A7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29170000000000001</c:v>
                </c:pt>
                <c:pt idx="1">
                  <c:v>0.32069999999999999</c:v>
                </c:pt>
                <c:pt idx="2">
                  <c:v>0.39179999999999998</c:v>
                </c:pt>
                <c:pt idx="3">
                  <c:v>0.21940000000000001</c:v>
                </c:pt>
                <c:pt idx="4">
                  <c:v>0.35849999999999999</c:v>
                </c:pt>
                <c:pt idx="5">
                  <c:v>0.20269999999999999</c:v>
                </c:pt>
              </c:numCache>
            </c:numRef>
          </c:xVal>
          <c:yVal>
            <c:numRef>
              <c:f>Sheet1!$B$2:$B$7</c:f>
              <c:numCache>
                <c:formatCode>General</c:formatCode>
                <c:ptCount val="6"/>
                <c:pt idx="0">
                  <c:v>1094.75</c:v>
                </c:pt>
                <c:pt idx="1">
                  <c:v>4560.0253164556962</c:v>
                </c:pt>
                <c:pt idx="2">
                  <c:v>3435.0481927710839</c:v>
                </c:pt>
                <c:pt idx="3">
                  <c:v>5275.4193548387093</c:v>
                </c:pt>
                <c:pt idx="4">
                  <c:v>999.2</c:v>
                </c:pt>
                <c:pt idx="5">
                  <c:v>1055.75</c:v>
                </c:pt>
              </c:numCache>
            </c:numRef>
          </c:yVal>
          <c:bubbleSize>
            <c:numRef>
              <c:f>Sheet1!$C$2:$C$7</c:f>
              <c:numCache>
                <c:formatCode>General</c:formatCode>
                <c:ptCount val="6"/>
                <c:pt idx="0">
                  <c:v>3101.6833000000001</c:v>
                </c:pt>
                <c:pt idx="1">
                  <c:v>244698.5876</c:v>
                </c:pt>
                <c:pt idx="2">
                  <c:v>173389.4657</c:v>
                </c:pt>
                <c:pt idx="3">
                  <c:v>127660.91680000001</c:v>
                </c:pt>
                <c:pt idx="4">
                  <c:v>3205.0187999999998</c:v>
                </c:pt>
                <c:pt idx="5">
                  <c:v>3367.1781000000001</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6CT</c:v>
                  </c:pt>
                  <c:pt idx="2">
                    <c:v>HYDRO 5 SENSITIVE 5 BLADE RAZOR SENSITIVE 3CT</c:v>
                  </c:pt>
                  <c:pt idx="3">
                    <c:v>HYDRO 5 SENSITIVE 5 BLADE REFILL SENSITIVE 12CT</c:v>
                  </c:pt>
                  <c:pt idx="4">
                    <c:v>SCHICK HYDRO 3 SENSITIVE 3 BLADE RAZOR SENSITIVE 4CT</c:v>
                  </c:pt>
                  <c:pt idx="5">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BFE0A05-EAEE-4D3E-BE4F-87155DC34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36BAE56-E515-40C8-A68B-3D64E8C55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0F04E13-9102-4A6E-AD91-A776ABC9D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6F4C74-CC44-4896-B5F8-DA93CD9B8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BE83983-A044-4680-A48D-829A04BF1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1999AD3-CE37-4131-9515-F4D6AC7FF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127108A-65A0-48ED-BF51-BB0144699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739999999999998</c:v>
                </c:pt>
                <c:pt idx="1">
                  <c:v>0.48749999999999999</c:v>
                </c:pt>
                <c:pt idx="2">
                  <c:v>0.42920000000000003</c:v>
                </c:pt>
                <c:pt idx="3">
                  <c:v>0.39600000000000002</c:v>
                </c:pt>
              </c:numCache>
            </c:numRef>
          </c:xVal>
          <c:yVal>
            <c:numRef>
              <c:f>Sheet1!$B$2:$B$5</c:f>
              <c:numCache>
                <c:formatCode>General</c:formatCode>
                <c:ptCount val="4"/>
                <c:pt idx="0">
                  <c:v>745.05970149253733</c:v>
                </c:pt>
                <c:pt idx="1">
                  <c:v>2192.542857142857</c:v>
                </c:pt>
                <c:pt idx="2">
                  <c:v>3421.4096385542171</c:v>
                </c:pt>
                <c:pt idx="3">
                  <c:v>2624.6851851851852</c:v>
                </c:pt>
              </c:numCache>
            </c:numRef>
          </c:yVal>
          <c:bubbleSize>
            <c:numRef>
              <c:f>Sheet1!$C$2:$C$5</c:f>
              <c:numCache>
                <c:formatCode>General</c:formatCode>
                <c:ptCount val="4"/>
                <c:pt idx="0">
                  <c:v>30082.322400000001</c:v>
                </c:pt>
                <c:pt idx="1">
                  <c:v>78650.092899999989</c:v>
                </c:pt>
                <c:pt idx="2">
                  <c:v>162101.8536</c:v>
                </c:pt>
                <c:pt idx="3">
                  <c:v>85603.147899999982</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8B84A5-763F-4E9D-9539-CE85D4768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04C39EF4-F183-4341-B0AA-28BF2B3B4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D4C04330-5EDA-439C-B83D-2CF8A0D43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C03F64C-AA40-4BA2-BD4E-A56671DBE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5F78D17-48BE-4E0D-8CFD-08716E72C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97AAE3-64A6-4D9D-9D64-F71AF6F34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0514555-EC29-48F7-80F4-B8286641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94C5EF7-E068-46EE-8D01-342064D68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C076672-A952-4D39-8C97-4A6A71B83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3EF601E-5F0E-4F6F-B116-A9D3FADDA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C562024-BDC8-4AB6-B0FE-25E471C80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1151F99-79AA-4481-82B7-36F513CFE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0A450A-421A-43CD-A228-F77BBA5B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8697941-F103-4542-B15E-B018FAC0F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91049999999999998</c:v>
                </c:pt>
                <c:pt idx="1">
                  <c:v>0.32050000000000001</c:v>
                </c:pt>
                <c:pt idx="2">
                  <c:v>0.39190000000000003</c:v>
                </c:pt>
              </c:numCache>
            </c:numRef>
          </c:xVal>
          <c:yVal>
            <c:numRef>
              <c:f>Sheet1!$B$2:$B$4</c:f>
              <c:numCache>
                <c:formatCode>General</c:formatCode>
                <c:ptCount val="3"/>
                <c:pt idx="0">
                  <c:v>839</c:v>
                </c:pt>
                <c:pt idx="1">
                  <c:v>7307.5535714285706</c:v>
                </c:pt>
                <c:pt idx="2">
                  <c:v>4743.377049180328</c:v>
                </c:pt>
              </c:numCache>
            </c:numRef>
          </c:yVal>
          <c:bubbleSize>
            <c:numRef>
              <c:f>Sheet1!$C$2:$C$4</c:f>
              <c:numCache>
                <c:formatCode>General</c:formatCode>
                <c:ptCount val="3"/>
                <c:pt idx="0">
                  <c:v>1341.184</c:v>
                </c:pt>
                <c:pt idx="1">
                  <c:v>278077.10879999999</c:v>
                </c:pt>
                <c:pt idx="2">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D683ECC-F954-4AF9-ADA2-3BDDB5F97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4F4006F-5370-4979-AA1F-86507F322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0EFD425-8771-440C-BD1C-EA7BBA217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D2AF5F3-BC86-4F20-A4AC-FB4FDC147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AB9B8C8-6BE4-40DF-96BA-D9D327D99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377FB96-AD2F-4D92-80C1-94BA3B16A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8D5A065-0070-41E7-B820-928378850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89999999999998</c:v>
                </c:pt>
                <c:pt idx="1">
                  <c:v>0.48880000000000001</c:v>
                </c:pt>
                <c:pt idx="2">
                  <c:v>0.43030000000000002</c:v>
                </c:pt>
                <c:pt idx="3">
                  <c:v>0.35830000000000001</c:v>
                </c:pt>
              </c:numCache>
            </c:numRef>
          </c:xVal>
          <c:yVal>
            <c:numRef>
              <c:f>Sheet1!$B$2:$B$5</c:f>
              <c:numCache>
                <c:formatCode>General</c:formatCode>
                <c:ptCount val="4"/>
                <c:pt idx="0">
                  <c:v>1148.3170731707321</c:v>
                </c:pt>
                <c:pt idx="1">
                  <c:v>3302.6981132075471</c:v>
                </c:pt>
                <c:pt idx="2">
                  <c:v>4936.0153846153844</c:v>
                </c:pt>
                <c:pt idx="3">
                  <c:v>3361.8</c:v>
                </c:pt>
              </c:numCache>
            </c:numRef>
          </c:yVal>
          <c:bubbleSize>
            <c:numRef>
              <c:f>Sheet1!$C$2:$C$5</c:f>
              <c:numCache>
                <c:formatCode>General</c:formatCode>
                <c:ptCount val="4"/>
                <c:pt idx="0">
                  <c:v>28301.748800000001</c:v>
                </c:pt>
                <c:pt idx="1">
                  <c:v>89489.170400000003</c:v>
                </c:pt>
                <c:pt idx="2">
                  <c:v>182797.47649999999</c:v>
                </c:pt>
                <c:pt idx="3">
                  <c:v>86297.400300000008</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B$2:$B$9</c:f>
              <c:numCache>
                <c:formatCode>General</c:formatCode>
                <c:ptCount val="8"/>
                <c:pt idx="0">
                  <c:v>0.68783737576687554</c:v>
                </c:pt>
                <c:pt idx="1">
                  <c:v>0.18097371641078247</c:v>
                </c:pt>
                <c:pt idx="2">
                  <c:v>4.2128204910829088E-2</c:v>
                </c:pt>
                <c:pt idx="3">
                  <c:v>4.1668856730277419E-2</c:v>
                </c:pt>
                <c:pt idx="4">
                  <c:v>2.5361219201347384E-2</c:v>
                </c:pt>
                <c:pt idx="5">
                  <c:v>2.1685868579228024E-2</c:v>
                </c:pt>
                <c:pt idx="6">
                  <c:v>3.4150862885062638E-4</c:v>
                </c:pt>
                <c:pt idx="7">
                  <c:v>3.249771809501202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C$2:$C$9</c:f>
              <c:numCache>
                <c:formatCode>General</c:formatCode>
                <c:ptCount val="8"/>
                <c:pt idx="0">
                  <c:v>0.61141304347826086</c:v>
                </c:pt>
                <c:pt idx="1">
                  <c:v>0.18858695652173912</c:v>
                </c:pt>
                <c:pt idx="2">
                  <c:v>7.9347826086956522E-2</c:v>
                </c:pt>
                <c:pt idx="3">
                  <c:v>5.0543478260869572E-2</c:v>
                </c:pt>
                <c:pt idx="4">
                  <c:v>2.9347826086956526E-2</c:v>
                </c:pt>
                <c:pt idx="5">
                  <c:v>3.8043478260869568E-2</c:v>
                </c:pt>
                <c:pt idx="6">
                  <c:v>2.7173913043478264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Dollar Shave Club</c:v>
                </c:pt>
                <c:pt idx="3">
                  <c:v>Schick</c:v>
                </c:pt>
                <c:pt idx="4">
                  <c:v>Van Der Hagen</c:v>
                </c:pt>
                <c:pt idx="5">
                  <c:v>Equate</c:v>
                </c:pt>
                <c:pt idx="6">
                  <c:v>Cremo</c:v>
                </c:pt>
                <c:pt idx="7">
                  <c:v>Others</c:v>
                </c:pt>
              </c:strCache>
            </c:strRef>
          </c:cat>
          <c:val>
            <c:numRef>
              <c:f>Sheet1!$D$2:$D$9</c:f>
              <c:numCache>
                <c:formatCode>General</c:formatCode>
                <c:ptCount val="8"/>
                <c:pt idx="0">
                  <c:v>0.88889185877198296</c:v>
                </c:pt>
                <c:pt idx="1">
                  <c:v>1.0420682089197735</c:v>
                </c:pt>
                <c:pt idx="2">
                  <c:v>1.8834846216426397</c:v>
                </c:pt>
                <c:pt idx="3">
                  <c:v>1.2129797221948659</c:v>
                </c:pt>
                <c:pt idx="4">
                  <c:v>1.1571930297971378</c:v>
                </c:pt>
                <c:pt idx="5">
                  <c:v>1.7542981099364314</c:v>
                </c:pt>
                <c:pt idx="6">
                  <c:v>7.957020920652624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DF4C38-44F9-4326-A6E3-9F863CCBE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F320D67-DF80-4ED2-9D48-75751CC78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0B11D7-4DFD-4CAE-8ABB-4D0AD3757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422B837-9F0F-4226-A3CF-A2D3EB559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CE05722-3168-4C11-8B60-8820C3448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48EE90-E190-4184-B518-8A687F96D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F74F7CB-F8A8-4DA7-B24A-EE60ADB1D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228</c:v>
                </c:pt>
                <c:pt idx="1">
                  <c:v>-0.64170000000000005</c:v>
                </c:pt>
                <c:pt idx="2">
                  <c:v>0.3211</c:v>
                </c:pt>
                <c:pt idx="3">
                  <c:v>0.39179999999999998</c:v>
                </c:pt>
                <c:pt idx="4">
                  <c:v>0.2205</c:v>
                </c:pt>
                <c:pt idx="5">
                  <c:v>0.3679</c:v>
                </c:pt>
                <c:pt idx="6">
                  <c:v>0.2843</c:v>
                </c:pt>
              </c:numCache>
            </c:numRef>
          </c:xVal>
          <c:yVal>
            <c:numRef>
              <c:f>Sheet1!$B$2:$B$8</c:f>
              <c:numCache>
                <c:formatCode>General</c:formatCode>
                <c:ptCount val="7"/>
                <c:pt idx="0">
                  <c:v>14923.912087912089</c:v>
                </c:pt>
                <c:pt idx="1">
                  <c:v>4359</c:v>
                </c:pt>
                <c:pt idx="2">
                  <c:v>57541.387499999997</c:v>
                </c:pt>
                <c:pt idx="3">
                  <c:v>41378.275862068956</c:v>
                </c:pt>
                <c:pt idx="4">
                  <c:v>66122.918367346938</c:v>
                </c:pt>
                <c:pt idx="5">
                  <c:v>19149.166666666672</c:v>
                </c:pt>
                <c:pt idx="6">
                  <c:v>19381.2</c:v>
                </c:pt>
              </c:numCache>
            </c:numRef>
          </c:yVal>
          <c:bubbleSize>
            <c:numRef>
              <c:f>Sheet1!$C$2:$C$8</c:f>
              <c:numCache>
                <c:formatCode>General</c:formatCode>
                <c:ptCount val="7"/>
                <c:pt idx="0">
                  <c:v>1055523.5941999999</c:v>
                </c:pt>
                <c:pt idx="1">
                  <c:v>6169.4463999999998</c:v>
                </c:pt>
                <c:pt idx="2">
                  <c:v>3125406.0482000001</c:v>
                </c:pt>
                <c:pt idx="3">
                  <c:v>2189444.7601999999</c:v>
                </c:pt>
                <c:pt idx="4">
                  <c:v>2525616.0184999998</c:v>
                </c:pt>
                <c:pt idx="5">
                  <c:v>72621.147599999997</c:v>
                </c:pt>
                <c:pt idx="6">
                  <c:v>69360.267600000006</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C8B2D5-4873-42C0-B085-6B3C5A74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0ADC5D-EA04-44A7-B873-98E470D96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AE1F27-F852-49F7-8983-30B3BD203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A02AFC-5D42-47B1-AAF2-3A6ABA3F2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6EC9F88-A50A-435A-A950-0AE610FA1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C7E3EFC-C0AA-408A-8E9F-89A8FB418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63916B8-910D-4FC9-9E8E-256071334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987</c:v>
                </c:pt>
                <c:pt idx="1">
                  <c:v>0.4884</c:v>
                </c:pt>
                <c:pt idx="2">
                  <c:v>0.43009999999999998</c:v>
                </c:pt>
                <c:pt idx="3">
                  <c:v>0.40649999999999997</c:v>
                </c:pt>
              </c:numCache>
            </c:numRef>
          </c:xVal>
          <c:yVal>
            <c:numRef>
              <c:f>Sheet1!$B$2:$B$5</c:f>
              <c:numCache>
                <c:formatCode>General</c:formatCode>
                <c:ptCount val="4"/>
                <c:pt idx="0">
                  <c:v>8564.5633802816901</c:v>
                </c:pt>
                <c:pt idx="1">
                  <c:v>26568.493506493509</c:v>
                </c:pt>
                <c:pt idx="2">
                  <c:v>46244.011627906977</c:v>
                </c:pt>
                <c:pt idx="3">
                  <c:v>32905.133333333331</c:v>
                </c:pt>
              </c:numCache>
            </c:numRef>
          </c:yVal>
          <c:bubbleSize>
            <c:numRef>
              <c:f>Sheet1!$C$2:$C$5</c:f>
              <c:numCache>
                <c:formatCode>General</c:formatCode>
                <c:ptCount val="4"/>
                <c:pt idx="0">
                  <c:v>365615.01729999989</c:v>
                </c:pt>
                <c:pt idx="1">
                  <c:v>1046552.1158</c:v>
                </c:pt>
                <c:pt idx="2">
                  <c:v>2266539.6035000002</c:v>
                </c:pt>
                <c:pt idx="3">
                  <c:v>1171834.1069</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20B5E7A-1954-42C3-B22C-FC8672F28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8D7E092-EE83-4F3D-B72E-49BC87DE8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0D56998-C236-4A2A-AE10-BDC2414D0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DCE95E7-6C40-4C8F-BA7E-FA0DCDF74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03C5B8C-9064-486A-9B63-29CBF7F73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B2C0C6D-FFFD-49E5-9368-6F6B15ED9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540A50F-6215-47EC-A47D-209B023B9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6659999999999998</c:v>
                </c:pt>
                <c:pt idx="1">
                  <c:v>0.34639999999999999</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50</c15:f>
                <c15:dlblRangeCache>
                  <c:ptCount val="49"/>
                  <c:pt idx="0">
                    <c:v>CREMO 5 BLADE RAZOR NORMAL 2CT</c:v>
                  </c:pt>
                  <c:pt idx="1">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D0A1C18-8B7E-4B2D-B97D-A91AF0CC6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3BBFBA-5ED5-466B-BDB2-BC0274825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CBCAB0-EAFF-42C0-9E92-127C8CFAE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B844183-D4DC-49D4-AF6F-EB7087E7D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BABA64-E601-4924-83FD-CA88E614B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25EAB7D-15DD-45EE-89DD-8F6B7D07F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083A6F7-EB1E-4334-BC98-8D58F65B1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6</c:v>
                </c:pt>
                <c:pt idx="1">
                  <c:v>0.34960000000000002</c:v>
                </c:pt>
                <c:pt idx="2">
                  <c:v>0.35170000000000001</c:v>
                </c:pt>
                <c:pt idx="3">
                  <c:v>0.36099999999999999</c:v>
                </c:pt>
                <c:pt idx="4">
                  <c:v>0.34610000000000002</c:v>
                </c:pt>
                <c:pt idx="5">
                  <c:v>0.37019999999999997</c:v>
                </c:pt>
                <c:pt idx="6">
                  <c:v>0.31940000000000002</c:v>
                </c:pt>
                <c:pt idx="7">
                  <c:v>0.29509999999999997</c:v>
                </c:pt>
              </c:numCache>
            </c:numRef>
          </c:xVal>
          <c:yVal>
            <c:numRef>
              <c:f>Sheet1!$B$2:$B$9</c:f>
              <c:numCache>
                <c:formatCode>General</c:formatCode>
                <c:ptCount val="8"/>
                <c:pt idx="0">
                  <c:v>14944.044795783921</c:v>
                </c:pt>
                <c:pt idx="1">
                  <c:v>6009.7767857142853</c:v>
                </c:pt>
                <c:pt idx="2">
                  <c:v>52579.062832800853</c:v>
                </c:pt>
                <c:pt idx="3">
                  <c:v>42879.101283880183</c:v>
                </c:pt>
                <c:pt idx="4">
                  <c:v>7261.4353312302837</c:v>
                </c:pt>
                <c:pt idx="5">
                  <c:v>42642.536842105263</c:v>
                </c:pt>
                <c:pt idx="6">
                  <c:v>6803.5545023696686</c:v>
                </c:pt>
                <c:pt idx="7">
                  <c:v>51342.777129521593</c:v>
                </c:pt>
              </c:numCache>
            </c:numRef>
          </c:yVal>
          <c:bubbleSize>
            <c:numRef>
              <c:f>Sheet1!$C$2:$C$9</c:f>
              <c:numCache>
                <c:formatCode>General</c:formatCode>
                <c:ptCount val="8"/>
                <c:pt idx="0">
                  <c:v>838701.68579999998</c:v>
                </c:pt>
                <c:pt idx="1">
                  <c:v>350237.70730000013</c:v>
                </c:pt>
                <c:pt idx="2">
                  <c:v>3200726.89</c:v>
                </c:pt>
                <c:pt idx="3">
                  <c:v>1920827.2086</c:v>
                </c:pt>
                <c:pt idx="4">
                  <c:v>301018.2378</c:v>
                </c:pt>
                <c:pt idx="5">
                  <c:v>2551270.2801999999</c:v>
                </c:pt>
                <c:pt idx="6">
                  <c:v>390839.13900000002</c:v>
                </c:pt>
                <c:pt idx="7">
                  <c:v>3101731.2096000011</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DBF98AD-360F-49E8-9601-CA78712CF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737533-14E9-4024-8CDA-6A3A72129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0403DC-2825-4C12-A793-F4640F647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6E1FE7-50F1-4E3A-B74E-7556EBC48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534D508-617A-4EA2-8A53-09372CFBD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52B26C-D3E1-43B2-9994-C9CFE3276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7EB4D4F-06A6-41EF-B19B-5D2A5C4D2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729999999999998</c:v>
                </c:pt>
                <c:pt idx="1">
                  <c:v>0.48370000000000002</c:v>
                </c:pt>
                <c:pt idx="2">
                  <c:v>0.5474</c:v>
                </c:pt>
                <c:pt idx="3">
                  <c:v>0.44769999999999999</c:v>
                </c:pt>
                <c:pt idx="4">
                  <c:v>0.29899999999999999</c:v>
                </c:pt>
                <c:pt idx="5">
                  <c:v>0.4032</c:v>
                </c:pt>
              </c:numCache>
            </c:numRef>
          </c:xVal>
          <c:yVal>
            <c:numRef>
              <c:f>Sheet1!$B$2:$B$7</c:f>
              <c:numCache>
                <c:formatCode>General</c:formatCode>
                <c:ptCount val="6"/>
                <c:pt idx="0">
                  <c:v>34693.635394456287</c:v>
                </c:pt>
                <c:pt idx="1">
                  <c:v>88856.375634517768</c:v>
                </c:pt>
                <c:pt idx="2">
                  <c:v>37190.417101147032</c:v>
                </c:pt>
                <c:pt idx="3">
                  <c:v>39700.241492864981</c:v>
                </c:pt>
                <c:pt idx="4">
                  <c:v>17923.486707566459</c:v>
                </c:pt>
                <c:pt idx="5">
                  <c:v>38983.218623481793</c:v>
                </c:pt>
              </c:numCache>
            </c:numRef>
          </c:yVal>
          <c:bubbleSize>
            <c:numRef>
              <c:f>Sheet1!$C$2:$C$7</c:f>
              <c:numCache>
                <c:formatCode>General</c:formatCode>
                <c:ptCount val="6"/>
                <c:pt idx="0">
                  <c:v>1798622.3696000001</c:v>
                </c:pt>
                <c:pt idx="1">
                  <c:v>4518773.5040000007</c:v>
                </c:pt>
                <c:pt idx="2">
                  <c:v>1614221.3448999999</c:v>
                </c:pt>
                <c:pt idx="3">
                  <c:v>1997336.7135999999</c:v>
                </c:pt>
                <c:pt idx="4">
                  <c:v>1228819.4014000001</c:v>
                </c:pt>
                <c:pt idx="5">
                  <c:v>2298580.1269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BD41F01-71BC-4496-AA93-3D62CC53F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9932FC-A0CE-49CD-AACF-23FE6323D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86FCC5-1F40-4D6D-821D-675105116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07B31B4-9B8D-47F4-A6B5-F2C3FAF57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0E64D0B-E4A9-4F58-A13E-3E20A9060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EE2B6C-CE27-4135-9052-B245F7CE3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BD2D156-2F86-4691-BB3B-CD562AD25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0980000000000002</c:v>
                </c:pt>
                <c:pt idx="1">
                  <c:v>0.35680000000000001</c:v>
                </c:pt>
                <c:pt idx="2">
                  <c:v>0.3579</c:v>
                </c:pt>
                <c:pt idx="3">
                  <c:v>0.36799999999999999</c:v>
                </c:pt>
                <c:pt idx="4">
                  <c:v>0.35389999999999999</c:v>
                </c:pt>
                <c:pt idx="5">
                  <c:v>0.37519999999999998</c:v>
                </c:pt>
                <c:pt idx="6">
                  <c:v>0.32700000000000001</c:v>
                </c:pt>
                <c:pt idx="7">
                  <c:v>0.30099999999999999</c:v>
                </c:pt>
              </c:numCache>
            </c:numRef>
          </c:xVal>
          <c:yVal>
            <c:numRef>
              <c:f>Sheet1!$B$2:$B$9</c:f>
              <c:numCache>
                <c:formatCode>General</c:formatCode>
                <c:ptCount val="8"/>
                <c:pt idx="0">
                  <c:v>874</c:v>
                </c:pt>
                <c:pt idx="1">
                  <c:v>413.27272727272731</c:v>
                </c:pt>
                <c:pt idx="2">
                  <c:v>4372</c:v>
                </c:pt>
                <c:pt idx="3">
                  <c:v>3373.205882352941</c:v>
                </c:pt>
                <c:pt idx="4">
                  <c:v>574.65625</c:v>
                </c:pt>
                <c:pt idx="5">
                  <c:v>3032.8736842105259</c:v>
                </c:pt>
                <c:pt idx="6">
                  <c:v>506.07142857142861</c:v>
                </c:pt>
                <c:pt idx="7">
                  <c:v>3945.977011494253</c:v>
                </c:pt>
              </c:numCache>
            </c:numRef>
          </c:yVal>
          <c:bubbleSize>
            <c:numRef>
              <c:f>Sheet1!$C$2:$C$9</c:f>
              <c:numCache>
                <c:formatCode>General</c:formatCode>
                <c:ptCount val="8"/>
                <c:pt idx="0">
                  <c:v>2412.9196000000002</c:v>
                </c:pt>
                <c:pt idx="1">
                  <c:v>23392.570500000002</c:v>
                </c:pt>
                <c:pt idx="2">
                  <c:v>263862.60159999999</c:v>
                </c:pt>
                <c:pt idx="3">
                  <c:v>144963.85519999999</c:v>
                </c:pt>
                <c:pt idx="4">
                  <c:v>23760.718799999999</c:v>
                </c:pt>
                <c:pt idx="5">
                  <c:v>180016.2997</c:v>
                </c:pt>
                <c:pt idx="6">
                  <c:v>28611.328399999999</c:v>
                </c:pt>
                <c:pt idx="7">
                  <c:v>239980.5024</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32C33F2-B919-4E73-B501-C5061E35C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77385E9-D52D-4663-BCB2-57A48ADD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0FDFA8-5B2A-4288-804B-487C42CC3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6230E38-A776-4B6B-9CE6-35CDBF3B2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C37812C-BB04-4812-87F4-6B58C6D04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93F6824-2931-46C1-8CC6-5A433CAF0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4FE3465-7123-4E5D-9147-F1E27FD24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5319999999999999</c:v>
                </c:pt>
                <c:pt idx="1">
                  <c:v>0.48870000000000002</c:v>
                </c:pt>
                <c:pt idx="2">
                  <c:v>0.55089999999999995</c:v>
                </c:pt>
                <c:pt idx="3">
                  <c:v>0.44790000000000002</c:v>
                </c:pt>
                <c:pt idx="4">
                  <c:v>0.30880000000000002</c:v>
                </c:pt>
                <c:pt idx="5">
                  <c:v>0.40329999999999999</c:v>
                </c:pt>
              </c:numCache>
            </c:numRef>
          </c:xVal>
          <c:yVal>
            <c:numRef>
              <c:f>Sheet1!$B$2:$B$7</c:f>
              <c:numCache>
                <c:formatCode>General</c:formatCode>
                <c:ptCount val="6"/>
                <c:pt idx="0">
                  <c:v>2490.9578947368418</c:v>
                </c:pt>
                <c:pt idx="1">
                  <c:v>6191.2653061224491</c:v>
                </c:pt>
                <c:pt idx="2">
                  <c:v>2380.0744680851062</c:v>
                </c:pt>
                <c:pt idx="3">
                  <c:v>2854.1777777777779</c:v>
                </c:pt>
                <c:pt idx="4">
                  <c:v>1268.855670103093</c:v>
                </c:pt>
                <c:pt idx="5">
                  <c:v>3147.9191919191921</c:v>
                </c:pt>
              </c:numCache>
            </c:numRef>
          </c:yVal>
          <c:bubbleSize>
            <c:numRef>
              <c:f>Sheet1!$C$2:$C$7</c:f>
              <c:numCache>
                <c:formatCode>General</c:formatCode>
                <c:ptCount val="6"/>
                <c:pt idx="0">
                  <c:v>129385.6139</c:v>
                </c:pt>
                <c:pt idx="1">
                  <c:v>310226.51689999999</c:v>
                </c:pt>
                <c:pt idx="2">
                  <c:v>100468.05989999999</c:v>
                </c:pt>
                <c:pt idx="3">
                  <c:v>141820.57579999999</c:v>
                </c:pt>
                <c:pt idx="4">
                  <c:v>85078.340200000021</c:v>
                </c:pt>
                <c:pt idx="5">
                  <c:v>185958.4334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939B88F-1907-49DC-BB9D-A7ED4DF2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2745908-5860-48CC-B256-10D3D0507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59C17D-6B04-4DE0-BEC7-5FD4F2266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E2496D1-2378-427E-9E42-212A3A097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EF93586-A4E6-4F2A-A53F-30F2A4D9B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8A52011-B25A-4D83-B812-F336931C0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3991513-4938-45B4-A249-D23CE15AB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5060000000000002</c:v>
                </c:pt>
                <c:pt idx="1">
                  <c:v>0.35320000000000001</c:v>
                </c:pt>
                <c:pt idx="2">
                  <c:v>0.35849999999999999</c:v>
                </c:pt>
                <c:pt idx="3">
                  <c:v>0.3458</c:v>
                </c:pt>
                <c:pt idx="4">
                  <c:v>0.3705</c:v>
                </c:pt>
                <c:pt idx="5">
                  <c:v>0.32150000000000001</c:v>
                </c:pt>
                <c:pt idx="6">
                  <c:v>0.29580000000000001</c:v>
                </c:pt>
              </c:numCache>
            </c:numRef>
          </c:xVal>
          <c:yVal>
            <c:numRef>
              <c:f>Sheet1!$B$2:$B$8</c:f>
              <c:numCache>
                <c:formatCode>General</c:formatCode>
                <c:ptCount val="7"/>
                <c:pt idx="0">
                  <c:v>536.43661971830988</c:v>
                </c:pt>
                <c:pt idx="1">
                  <c:v>4400.727272727273</c:v>
                </c:pt>
                <c:pt idx="2">
                  <c:v>4859.9333333333334</c:v>
                </c:pt>
                <c:pt idx="3">
                  <c:v>743.54166666666663</c:v>
                </c:pt>
                <c:pt idx="4">
                  <c:v>3557.6049382716051</c:v>
                </c:pt>
                <c:pt idx="5">
                  <c:v>609.59016393442619</c:v>
                </c:pt>
                <c:pt idx="6">
                  <c:v>5031.3076923076924</c:v>
                </c:pt>
              </c:numCache>
            </c:numRef>
          </c:yVal>
          <c:bubbleSize>
            <c:numRef>
              <c:f>Sheet1!$C$2:$C$8</c:f>
              <c:numCache>
                <c:formatCode>General</c:formatCode>
                <c:ptCount val="7"/>
                <c:pt idx="0">
                  <c:v>24732.3076</c:v>
                </c:pt>
                <c:pt idx="1">
                  <c:v>219178.04300000001</c:v>
                </c:pt>
                <c:pt idx="2">
                  <c:v>93532.547699999996</c:v>
                </c:pt>
                <c:pt idx="3">
                  <c:v>11674.0008</c:v>
                </c:pt>
                <c:pt idx="4">
                  <c:v>181395.77009999999</c:v>
                </c:pt>
                <c:pt idx="5">
                  <c:v>25231.624599999999</c:v>
                </c:pt>
                <c:pt idx="6">
                  <c:v>230309.52960000001</c:v>
                </c:pt>
              </c:numCache>
            </c:numRef>
          </c:bubbleSize>
          <c:bubble3D val="0"/>
          <c:extLst>
            <c:ext xmlns:c15="http://schemas.microsoft.com/office/drawing/2012/chart" uri="{02D57815-91ED-43cb-92C2-25804820EDAC}">
              <c15:datalabelsRange>
                <c15:f>Sheet1!$E$2:$E$50</c15:f>
                <c15:dlblRangeCache>
                  <c:ptCount val="49"/>
                  <c:pt idx="0">
                    <c:v>SCHICK XTREME 3 SENSITIVE GREEN BLACK 3 BLADE DISPOSABLE SENSITIVE 4CT</c:v>
                  </c:pt>
                  <c:pt idx="1">
                    <c:v>SCHICK XTREME 2 SENSITIVE 2 BLADE DISPOSABLE NORMAL 12CT</c:v>
                  </c:pt>
                  <c:pt idx="2">
                    <c:v>SCHICK XTREME 3 SENSITIVE BLACK GREEN 3 BLADE DISPOSABLE SENSITIVE 12CT</c:v>
                  </c:pt>
                  <c:pt idx="3">
                    <c:v>SCHICK XTREME 3 SENSITIVE GREEN BLACK 3 BLADE DISPOSABLE SENSITIVE 12CT</c:v>
                  </c:pt>
                  <c:pt idx="4">
                    <c:v>SCHICK XTREME 3 SENSITIVE BLACK 3 BLADE DISPOSABLE SENSITIVE 4CT</c:v>
                  </c:pt>
                  <c:pt idx="5">
                    <c:v>SCHICK XTREME 3 SENSITIVE GREEN BLACK 3 BLADE DISPOSABLE SENSITIVE 8CT</c:v>
                  </c:pt>
                  <c:pt idx="6">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6750082-BE3F-4FBC-BC81-B6FC7F849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F140C9-F5CA-4143-9B6B-A918A93EF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58B107B-EB49-4DE5-A11B-99CD56DE4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3F785CD-6E68-48D6-80B9-1E62D2D74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52C4855-A2E0-4F07-88BE-31BA74075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F374EBB-98A4-4C42-A1AB-485AD022C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455402B-0030-42B6-842C-93CBC7627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800000000000001</c:v>
                </c:pt>
                <c:pt idx="1">
                  <c:v>0.4844</c:v>
                </c:pt>
                <c:pt idx="2">
                  <c:v>0.54790000000000005</c:v>
                </c:pt>
                <c:pt idx="3">
                  <c:v>0.44729999999999998</c:v>
                </c:pt>
                <c:pt idx="4">
                  <c:v>0.30309999999999998</c:v>
                </c:pt>
                <c:pt idx="5">
                  <c:v>0.4032</c:v>
                </c:pt>
              </c:numCache>
            </c:numRef>
          </c:xVal>
          <c:yVal>
            <c:numRef>
              <c:f>Sheet1!$B$2:$B$7</c:f>
              <c:numCache>
                <c:formatCode>General</c:formatCode>
                <c:ptCount val="6"/>
                <c:pt idx="0">
                  <c:v>2923.9189189189192</c:v>
                </c:pt>
                <c:pt idx="1">
                  <c:v>5807.0109890109889</c:v>
                </c:pt>
                <c:pt idx="2">
                  <c:v>2862.6341463414628</c:v>
                </c:pt>
                <c:pt idx="3">
                  <c:v>3479.353846153846</c:v>
                </c:pt>
                <c:pt idx="4">
                  <c:v>1727.1789473684209</c:v>
                </c:pt>
                <c:pt idx="5">
                  <c:v>3081.3052631578948</c:v>
                </c:pt>
              </c:numCache>
            </c:numRef>
          </c:yVal>
          <c:bubbleSize>
            <c:numRef>
              <c:f>Sheet1!$C$2:$C$7</c:f>
              <c:numCache>
                <c:formatCode>General</c:formatCode>
                <c:ptCount val="6"/>
                <c:pt idx="0">
                  <c:v>119428.2879</c:v>
                </c:pt>
                <c:pt idx="1">
                  <c:v>272475.62770000001</c:v>
                </c:pt>
                <c:pt idx="2">
                  <c:v>106130.8149</c:v>
                </c:pt>
                <c:pt idx="3">
                  <c:v>125001.96189999999</c:v>
                </c:pt>
                <c:pt idx="4">
                  <c:v>114348.9244</c:v>
                </c:pt>
                <c:pt idx="5">
                  <c:v>174687.43780000001</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2ED4B7-A029-41A2-ABB5-1DD9FD4EE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925672F-7196-49F9-BE0E-E9569F989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11C3A5-D052-4FEB-A3A0-0D70EF3DB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FCE9AB-2066-489E-A9AE-8C97686A1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2436D70-37E4-4BF5-A822-8019A857F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0399768-17AD-4DE8-B78E-3D4431343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813FBEB-9A63-4D20-A0A0-68836A9E0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26040000000000002</c:v>
                </c:pt>
                <c:pt idx="1">
                  <c:v>0.34889999999999999</c:v>
                </c:pt>
                <c:pt idx="2">
                  <c:v>0.35099999999999998</c:v>
                </c:pt>
                <c:pt idx="3">
                  <c:v>0.36049999999999999</c:v>
                </c:pt>
                <c:pt idx="4">
                  <c:v>0.34549999999999997</c:v>
                </c:pt>
                <c:pt idx="5">
                  <c:v>0.36980000000000002</c:v>
                </c:pt>
                <c:pt idx="6">
                  <c:v>0.31850000000000001</c:v>
                </c:pt>
                <c:pt idx="7">
                  <c:v>0.29449999999999998</c:v>
                </c:pt>
              </c:numCache>
            </c:numRef>
          </c:xVal>
          <c:yVal>
            <c:numRef>
              <c:f>Sheet1!$B$2:$B$9</c:f>
              <c:numCache>
                <c:formatCode>General</c:formatCode>
                <c:ptCount val="8"/>
                <c:pt idx="0">
                  <c:v>12997.022988505751</c:v>
                </c:pt>
                <c:pt idx="1">
                  <c:v>5099.131868131868</c:v>
                </c:pt>
                <c:pt idx="2">
                  <c:v>44077.368421052633</c:v>
                </c:pt>
                <c:pt idx="3">
                  <c:v>36036.28767123288</c:v>
                </c:pt>
                <c:pt idx="4">
                  <c:v>6147.757575757576</c:v>
                </c:pt>
                <c:pt idx="5">
                  <c:v>36195.333333333343</c:v>
                </c:pt>
                <c:pt idx="6">
                  <c:v>5750.2906976744189</c:v>
                </c:pt>
                <c:pt idx="7">
                  <c:v>42870.586206896551</c:v>
                </c:pt>
              </c:numCache>
            </c:numRef>
          </c:yVal>
          <c:bubbleSize>
            <c:numRef>
              <c:f>Sheet1!$C$2:$C$9</c:f>
              <c:numCache>
                <c:formatCode>General</c:formatCode>
                <c:ptCount val="8"/>
                <c:pt idx="0">
                  <c:v>836275.50840000005</c:v>
                </c:pt>
                <c:pt idx="1">
                  <c:v>302112.82919999998</c:v>
                </c:pt>
                <c:pt idx="2">
                  <c:v>2717686.2453999999</c:v>
                </c:pt>
                <c:pt idx="3">
                  <c:v>1682330.8056999999</c:v>
                </c:pt>
                <c:pt idx="4">
                  <c:v>265583.51819999999</c:v>
                </c:pt>
                <c:pt idx="5">
                  <c:v>2189858.2104000002</c:v>
                </c:pt>
                <c:pt idx="6">
                  <c:v>336996.18599999999</c:v>
                </c:pt>
                <c:pt idx="7">
                  <c:v>2631441.1776000001</c:v>
                </c:pt>
              </c:numCache>
            </c:numRef>
          </c:bubbleSize>
          <c:bubble3D val="0"/>
          <c:extLst>
            <c:ext xmlns:c15="http://schemas.microsoft.com/office/drawing/2012/chart" uri="{02D57815-91ED-43cb-92C2-25804820EDAC}">
              <c15:datalabelsRange>
                <c15:f>Sheet1!$E$2:$E$50</c15:f>
                <c15:dlblRangeCache>
                  <c:ptCount val="49"/>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FEC310D-E60C-4288-B202-1BECF5CF9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814646-9D81-404E-A737-0FA232C4F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049CC92-DC9F-410C-81C0-BC574BE9F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1111A0-6A68-47D4-9DAF-6656120FA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6A80501-A5CA-4312-8BC1-EA27A7E72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EB486EA-D2F8-4644-97D4-F27BE26F0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E649142-7404-433F-AEA9-54A03D7A1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4669999999999999</c:v>
                </c:pt>
                <c:pt idx="1">
                  <c:v>0.48330000000000001</c:v>
                </c:pt>
                <c:pt idx="2">
                  <c:v>0.54710000000000003</c:v>
                </c:pt>
                <c:pt idx="3">
                  <c:v>0.44779999999999998</c:v>
                </c:pt>
                <c:pt idx="4">
                  <c:v>0.29770000000000002</c:v>
                </c:pt>
                <c:pt idx="5">
                  <c:v>0.4032</c:v>
                </c:pt>
              </c:numCache>
            </c:numRef>
          </c:xVal>
          <c:yVal>
            <c:numRef>
              <c:f>Sheet1!$B$2:$B$7</c:f>
              <c:numCache>
                <c:formatCode>General</c:formatCode>
                <c:ptCount val="6"/>
                <c:pt idx="0">
                  <c:v>29486.863157894739</c:v>
                </c:pt>
                <c:pt idx="1">
                  <c:v>76941.121212121216</c:v>
                </c:pt>
                <c:pt idx="2">
                  <c:v>32042.247422680412</c:v>
                </c:pt>
                <c:pt idx="3">
                  <c:v>33695.247311827959</c:v>
                </c:pt>
                <c:pt idx="4">
                  <c:v>14956.693877551021</c:v>
                </c:pt>
                <c:pt idx="5">
                  <c:v>32799.737373737371</c:v>
                </c:pt>
              </c:numCache>
            </c:numRef>
          </c:yVal>
          <c:bubbleSize>
            <c:numRef>
              <c:f>Sheet1!$C$2:$C$7</c:f>
              <c:numCache>
                <c:formatCode>General</c:formatCode>
                <c:ptCount val="6"/>
                <c:pt idx="0">
                  <c:v>1549808.4678</c:v>
                </c:pt>
                <c:pt idx="1">
                  <c:v>3936071.3594</c:v>
                </c:pt>
                <c:pt idx="2">
                  <c:v>1407622.4701</c:v>
                </c:pt>
                <c:pt idx="3">
                  <c:v>1730514.1758999999</c:v>
                </c:pt>
                <c:pt idx="4">
                  <c:v>1029392.1368</c:v>
                </c:pt>
                <c:pt idx="5">
                  <c:v>1937934.2557999999</c:v>
                </c:pt>
              </c:numCache>
            </c:numRef>
          </c:bubbleSize>
          <c:bubble3D val="0"/>
          <c:extLst>
            <c:ext xmlns:c15="http://schemas.microsoft.com/office/drawing/2012/chart" uri="{02D57815-91ED-43cb-92C2-25804820EDAC}">
              <c15:datalabelsRange>
                <c15:f>Sheet1!$E$2:$E$50</c15:f>
                <c15:dlblRangeCache>
                  <c:ptCount val="49"/>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ED6BACB-109C-475C-B3C9-E451F851A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C3A919-A8C8-4B17-ACC3-CBC7F227A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65D3E4-1BAA-4FDD-B232-94934834F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40E0F92-D900-495D-991E-908068638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E3D2B87-1A19-421E-A4D4-CB0ED8CED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04C7A3-5FE1-4064-A99B-38D3029D3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A09C14E-CB58-44CE-8672-E3D69E950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23</c:v>
                </c:pt>
                <c:pt idx="1">
                  <c:v>0.39179999999999998</c:v>
                </c:pt>
                <c:pt idx="2">
                  <c:v>0.36749999999999999</c:v>
                </c:pt>
              </c:numCache>
            </c:numRef>
          </c:xVal>
          <c:yVal>
            <c:numRef>
              <c:f>Sheet1!$B$2:$B$4</c:f>
              <c:numCache>
                <c:formatCode>General</c:formatCode>
                <c:ptCount val="3"/>
                <c:pt idx="0">
                  <c:v>17181.197982345519</c:v>
                </c:pt>
                <c:pt idx="1">
                  <c:v>48994.894366197179</c:v>
                </c:pt>
                <c:pt idx="2">
                  <c:v>21416.964285714279</c:v>
                </c:pt>
              </c:numCache>
            </c:numRef>
          </c:yVal>
          <c:bubbleSize>
            <c:numRef>
              <c:f>Sheet1!$C$2:$C$4</c:f>
              <c:numCache>
                <c:formatCode>General</c:formatCode>
                <c:ptCount val="3"/>
                <c:pt idx="0">
                  <c:v>1058631.9765999999</c:v>
                </c:pt>
                <c:pt idx="1">
                  <c:v>2538781.9904</c:v>
                </c:pt>
                <c:pt idx="2">
                  <c:v>75862.3751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5AB882B-2EF1-476E-8BAD-CA2CAD9B7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4E6C9E8-6279-4499-AE91-926E84F44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4465E74-97CD-4307-BF50-9A5E8216B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F9CF5D-2E41-4455-B7BD-E35765A7A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FE8502D-8984-4A3F-BE52-987FDE266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1B656A1-39BD-40DE-A562-7F50652D3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8BB5E11-BE6C-4E98-8234-6F7B0E6B2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336CE2F-1C01-40DE-B925-946E284C8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DF359982-DB26-47CC-9A7A-2AD2F15DC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9B95184-857E-416F-93E9-8524ECFC3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9DC05E-58D5-48E1-90C6-F5DA82722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9168AB0-B14E-4107-9E63-FAF1BC141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44F3B8A-3AC5-413A-BBDA-A7A8CF835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34272C2-558D-476E-8524-56ED8E98D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8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818C97E-937A-4E25-B65B-A329487BE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41BC5AE-9EA5-49E4-B243-9856318FE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FBF4C6-FC54-4847-8EC3-439C2A3C1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027707C-CB59-4402-BFCE-1875D2FCC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26CD321-39D2-462C-82F1-8541F8391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A82E594-3EC4-4806-961C-227EC1C4B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4555C03-BDFC-48E1-9322-E47D6CA11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9170000000000001</c:v>
                </c:pt>
                <c:pt idx="1">
                  <c:v>0.39179999999999998</c:v>
                </c:pt>
                <c:pt idx="2">
                  <c:v>0.35849999999999999</c:v>
                </c:pt>
              </c:numCache>
            </c:numRef>
          </c:xVal>
          <c:yVal>
            <c:numRef>
              <c:f>Sheet1!$B$2:$B$4</c:f>
              <c:numCache>
                <c:formatCode>General</c:formatCode>
                <c:ptCount val="3"/>
                <c:pt idx="0">
                  <c:v>1094.75</c:v>
                </c:pt>
                <c:pt idx="1">
                  <c:v>3435.0481927710839</c:v>
                </c:pt>
                <c:pt idx="2">
                  <c:v>999.2</c:v>
                </c:pt>
              </c:numCache>
            </c:numRef>
          </c:yVal>
          <c:bubbleSize>
            <c:numRef>
              <c:f>Sheet1!$C$2:$C$4</c:f>
              <c:numCache>
                <c:formatCode>General</c:formatCode>
                <c:ptCount val="3"/>
                <c:pt idx="0">
                  <c:v>3101.6833000000001</c:v>
                </c:pt>
                <c:pt idx="1">
                  <c:v>173389.4657</c:v>
                </c:pt>
                <c:pt idx="2">
                  <c:v>3205.0187999999998</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8CA1C66-D722-4845-9E71-49B5AAB9B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A4F0DC2-9B01-4ACB-B8D3-36D705C14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EF1EFA1-E3B3-4B4B-985B-37BFA29A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A8BF4DB-F449-40C1-8955-56AEEB36E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1468355-4944-47B8-9080-8685523BD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E10B14-E1E7-4146-BF81-82B63A0BA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ABA36ED-AA47-4C00-8AD0-7AC009326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749999999999999</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284B68-6707-4D8D-BD7A-B113DAF44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215CD8D-F9A4-493E-A53C-3A32B01CC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CAAFC64A-8D20-420D-9777-C1E426C55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266CD2B-6F2B-423D-BBC5-43D069F68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DCBF511-C8BD-487E-9B92-8051D8998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C4BEE1-C9C4-43F5-8186-3AE877608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944C4EF-9FD0-41CD-A63E-D0287CA06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109999999999999</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D5977C3-31B3-4633-81A1-D2E92CE88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3E32612-CC38-492C-B464-157B777E0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E379B0A-0EE0-4D3F-B674-48C59C800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1807522-0EDF-4966-8977-24F2C187B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B28557B-8AF2-41B5-AD15-11F16CF65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A2D49F7-DDAA-4B41-9952-909A608AF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A36D509-AD4F-4055-9744-7F22E4033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190000000000003</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50</c15:f>
                <c15:dlblRangeCache>
                  <c:ptCount val="49"/>
                  <c:pt idx="0">
                    <c:v>HYDRO 5 SENSITIVE 5 BLADE RAZOR SENSITIVE 3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CA10DEE-C251-4D25-990D-C08233FD0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DAF6606-B608-4A2D-B225-971EECDB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7CA0EE0-D13D-4FEE-BF66-48DD1E8B8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F4FFDC-4FD0-4E7A-A6EC-B0374E90B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263C045-BACA-461B-97D6-A74845993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F25040E-6F68-43F7-B156-3E0A230B6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C656B44-7927-47AE-922F-604041F95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80000000000001</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400000003</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7507EC4-5037-414A-BF2A-43A4C859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06D9B7-D37E-41A6-B522-8B00BB4C1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1364B1-E92C-4940-AABD-D06187FA2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1216006-7699-4177-BE3F-8870D2A64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CB4351D-A2C0-4307-8D88-50E81745B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DA3335-AD52-4113-BF16-09F4B4C93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D607769-C1BC-498A-9669-F1C361487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2228</c:v>
                </c:pt>
                <c:pt idx="1">
                  <c:v>0.39179999999999998</c:v>
                </c:pt>
                <c:pt idx="2">
                  <c:v>0.3679</c:v>
                </c:pt>
              </c:numCache>
            </c:numRef>
          </c:xVal>
          <c:yVal>
            <c:numRef>
              <c:f>Sheet1!$B$2:$B$4</c:f>
              <c:numCache>
                <c:formatCode>General</c:formatCode>
                <c:ptCount val="3"/>
                <c:pt idx="0">
                  <c:v>14923.912087912089</c:v>
                </c:pt>
                <c:pt idx="1">
                  <c:v>41378.275862068956</c:v>
                </c:pt>
                <c:pt idx="2">
                  <c:v>19149.166666666672</c:v>
                </c:pt>
              </c:numCache>
            </c:numRef>
          </c:yVal>
          <c:bubbleSize>
            <c:numRef>
              <c:f>Sheet1!$C$2:$C$4</c:f>
              <c:numCache>
                <c:formatCode>General</c:formatCode>
                <c:ptCount val="3"/>
                <c:pt idx="0">
                  <c:v>1055523.5941999999</c:v>
                </c:pt>
                <c:pt idx="1">
                  <c:v>2189444.7601999999</c:v>
                </c:pt>
                <c:pt idx="2">
                  <c:v>72621.147599999997</c:v>
                </c:pt>
              </c:numCache>
            </c:numRef>
          </c:bubbleSize>
          <c:bubble3D val="0"/>
          <c:extLst>
            <c:ext xmlns:c15="http://schemas.microsoft.com/office/drawing/2012/chart" uri="{02D57815-91ED-43cb-92C2-25804820EDAC}">
              <c15:datalabelsRange>
                <c15:f>Sheet1!$E$2:$E$50</c15:f>
                <c15:dlblRangeCache>
                  <c:ptCount val="49"/>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B$2:$B$9</c:f>
              <c:numCache>
                <c:formatCode>General</c:formatCode>
                <c:ptCount val="8"/>
                <c:pt idx="0">
                  <c:v>0.64471932029990753</c:v>
                </c:pt>
                <c:pt idx="1">
                  <c:v>0.20469757345628167</c:v>
                </c:pt>
                <c:pt idx="2">
                  <c:v>5.1987613451472806E-2</c:v>
                </c:pt>
                <c:pt idx="3">
                  <c:v>4.4998435929086082E-2</c:v>
                </c:pt>
                <c:pt idx="4">
                  <c:v>3.1729960754940188E-2</c:v>
                </c:pt>
                <c:pt idx="5">
                  <c:v>2.095429977545837E-2</c:v>
                </c:pt>
                <c:pt idx="6">
                  <c:v>8.9388941839401879E-4</c:v>
                </c:pt>
                <c:pt idx="7">
                  <c:v>1.8906914459362927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C$2:$C$9</c:f>
              <c:numCache>
                <c:formatCode>General</c:formatCode>
                <c:ptCount val="8"/>
                <c:pt idx="0">
                  <c:v>0.60806794055201707</c:v>
                </c:pt>
                <c:pt idx="1">
                  <c:v>0.18174097664543523</c:v>
                </c:pt>
                <c:pt idx="2">
                  <c:v>7.8131634819532919E-2</c:v>
                </c:pt>
                <c:pt idx="3">
                  <c:v>6.6242038216560523E-2</c:v>
                </c:pt>
                <c:pt idx="4">
                  <c:v>2.7600849256900217E-2</c:v>
                </c:pt>
                <c:pt idx="5">
                  <c:v>3.2696390658174104E-2</c:v>
                </c:pt>
                <c:pt idx="6">
                  <c:v>5.520169851380043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Van Der Hagen</c:v>
                </c:pt>
                <c:pt idx="5">
                  <c:v>Equate</c:v>
                </c:pt>
                <c:pt idx="6">
                  <c:v>Cremo</c:v>
                </c:pt>
                <c:pt idx="7">
                  <c:v>Others</c:v>
                </c:pt>
              </c:strCache>
            </c:strRef>
          </c:cat>
          <c:val>
            <c:numRef>
              <c:f>Sheet1!$D$2:$D$9</c:f>
              <c:numCache>
                <c:formatCode>General</c:formatCode>
                <c:ptCount val="8"/>
                <c:pt idx="0">
                  <c:v>0.94315141706806438</c:v>
                </c:pt>
                <c:pt idx="1">
                  <c:v>0.88785115317573904</c:v>
                </c:pt>
                <c:pt idx="2">
                  <c:v>1.5028894313924206</c:v>
                </c:pt>
                <c:pt idx="3">
                  <c:v>1.4720964595514532</c:v>
                </c:pt>
                <c:pt idx="4">
                  <c:v>0.86986710982940341</c:v>
                </c:pt>
                <c:pt idx="5">
                  <c:v>1.5603666554617133</c:v>
                </c:pt>
                <c:pt idx="6">
                  <c:v>6.175450495093342</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E9174E1-E168-4200-8A7A-E161EA83A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DE479D98-2120-41C2-992C-32DBEFF71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B3BA2BF-18C4-4DF9-862D-8028FFD26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8DD7CB-D58F-44E3-B691-DE5350EFD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E625512-95E1-4807-81E2-EC61F8B1C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27427CD-4F9F-478A-8C1C-FBBA079B7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184CFB0-D1E3-4A78-A0A7-92786815D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884</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50</c15:f>
                <c15:dlblRangeCache>
                  <c:ptCount val="49"/>
                  <c:pt idx="0">
                    <c:v>EQUATE EASY FIT 5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9D20072-4D5A-4407-B7D3-CAC32CE58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F693C00B-7F40-4E8D-B8E4-3F1D7C349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DC6E094-8012-4AEA-BEDA-783125C55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FDFC5A7-E2ED-4CB0-9500-F63373702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10C15FD-EC3A-4DA0-85BF-1EFE7A1A5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40F575E-BD7B-4E21-A6FE-C244BE13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C8777B1-5DFC-4EB2-B26D-3F1B5CD23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6659999999999998</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50</c15:f>
                <c15:dlblRangeCache>
                  <c:ptCount val="49"/>
                  <c:pt idx="0">
                    <c:v>CREMO 5 BLADE RAZOR NORMAL 2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9E65B6D-15CE-4103-98CF-FD897265E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47683CE-33EE-4DCA-B0AF-B065B53BD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22D7BB6-162E-4FDB-80A3-82D218110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CC754F-7FA5-45F4-8D4D-782E65FE8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9986E66-47E3-4DB7-9CB3-EFF7C223A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7543362-8B02-4C9A-9FAA-0E17A1461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03AA208-0229-4080-94E7-7889DAF42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7210000000000003</c:v>
                </c:pt>
                <c:pt idx="1">
                  <c:v>0.32100000000000001</c:v>
                </c:pt>
                <c:pt idx="2">
                  <c:v>0.2203</c:v>
                </c:pt>
                <c:pt idx="3">
                  <c:v>0.28089999999999998</c:v>
                </c:pt>
              </c:numCache>
            </c:numRef>
          </c:xVal>
          <c:yVal>
            <c:numRef>
              <c:f>Sheet1!$B$2:$B$5</c:f>
              <c:numCache>
                <c:formatCode>General</c:formatCode>
                <c:ptCount val="4"/>
                <c:pt idx="0">
                  <c:v>5644</c:v>
                </c:pt>
                <c:pt idx="1">
                  <c:v>68443.006369426745</c:v>
                </c:pt>
                <c:pt idx="2">
                  <c:v>75992.745535714275</c:v>
                </c:pt>
                <c:pt idx="3">
                  <c:v>21986.73913043478</c:v>
                </c:pt>
              </c:numCache>
            </c:numRef>
          </c:yVal>
          <c:bubbleSize>
            <c:numRef>
              <c:f>Sheet1!$C$2:$C$5</c:f>
              <c:numCache>
                <c:formatCode>General</c:formatCode>
                <c:ptCount val="4"/>
                <c:pt idx="0">
                  <c:v>8139.9551999999994</c:v>
                </c:pt>
                <c:pt idx="1">
                  <c:v>3648181.7445999999</c:v>
                </c:pt>
                <c:pt idx="2">
                  <c:v>2654418.0469</c:v>
                </c:pt>
                <c:pt idx="3">
                  <c:v>72733.44779999998</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C7716BF-3FCC-4328-88BC-A9A53C420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31319C-CF46-49B5-AF68-98290769E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B1D6693-8ACA-4AD3-9727-9C2F0E758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DAA13D-822F-474B-9DB7-6DBDFAF40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33204AD-3652-4FAE-BA25-4335512A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9DD041A-D9A2-4F9A-9FB0-B5D1293B4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753E513-98C5-485A-86F3-7DD595887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3</c:v>
                </c:pt>
                <c:pt idx="2">
                  <c:v>0.40289999999999998</c:v>
                </c:pt>
              </c:numCache>
            </c:numRef>
          </c:xVal>
          <c:yVal>
            <c:numRef>
              <c:f>Sheet1!$B$2:$B$4</c:f>
              <c:numCache>
                <c:formatCode>General</c:formatCode>
                <c:ptCount val="3"/>
                <c:pt idx="0">
                  <c:v>10233.43976777939</c:v>
                </c:pt>
                <c:pt idx="1">
                  <c:v>54222.520710059172</c:v>
                </c:pt>
                <c:pt idx="2">
                  <c:v>38536.181506849323</c:v>
                </c:pt>
              </c:numCache>
            </c:numRef>
          </c:yVal>
          <c:bubbleSize>
            <c:numRef>
              <c:f>Sheet1!$C$2:$C$4</c:f>
              <c:numCache>
                <c:formatCode>General</c:formatCode>
                <c:ptCount val="3"/>
                <c:pt idx="0">
                  <c:v>423999.08850000001</c:v>
                </c:pt>
                <c:pt idx="1">
                  <c:v>2611438.9336000001</c:v>
                </c:pt>
                <c:pt idx="2">
                  <c:v>1343734.6551000001</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EA1777B-87C0-4C99-AC81-2DB93870C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D922B9A-F0FA-49EE-8452-30C80509E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EE42CBB2-279D-44C8-A46F-CFD4F7C36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1BB013F-C786-4D71-9067-400288CBC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B8493EC-AFBC-4791-8CAF-4762B02C0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840095-1BD4-40DF-A3D1-66FCFCE5E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BDED9E2-6725-4538-B71A-52AD8E243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56000000000000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3B5BB71-A17E-4DDA-9FDC-CE77D511D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801A1BD-7B39-4F17-B674-257DBDD13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622DD3-3F6C-4E9D-8432-01BFBBA98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A562FF5-1A48-48F9-A199-65B4BE3E0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466E6D7-3E67-49CF-9313-DA29592CD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90A79F-00D1-404C-AB88-876D0EDCB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4CB5BD1-B6FD-440A-9938-87321D7A3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2069999999999999</c:v>
                </c:pt>
                <c:pt idx="1">
                  <c:v>0.21940000000000001</c:v>
                </c:pt>
                <c:pt idx="2">
                  <c:v>0.20269999999999999</c:v>
                </c:pt>
              </c:numCache>
            </c:numRef>
          </c:xVal>
          <c:yVal>
            <c:numRef>
              <c:f>Sheet1!$B$2:$B$4</c:f>
              <c:numCache>
                <c:formatCode>General</c:formatCode>
                <c:ptCount val="3"/>
                <c:pt idx="0">
                  <c:v>4560.0253164556962</c:v>
                </c:pt>
                <c:pt idx="1">
                  <c:v>5275.4193548387093</c:v>
                </c:pt>
                <c:pt idx="2">
                  <c:v>1055.75</c:v>
                </c:pt>
              </c:numCache>
            </c:numRef>
          </c:yVal>
          <c:bubbleSize>
            <c:numRef>
              <c:f>Sheet1!$C$2:$C$4</c:f>
              <c:numCache>
                <c:formatCode>General</c:formatCode>
                <c:ptCount val="3"/>
                <c:pt idx="0">
                  <c:v>244698.5876</c:v>
                </c:pt>
                <c:pt idx="1">
                  <c:v>127660.91680000001</c:v>
                </c:pt>
                <c:pt idx="2">
                  <c:v>3367.1781000000001</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6CT</c:v>
                  </c:pt>
                  <c:pt idx="1">
                    <c:v>HYDRO 5 SENSITIVE 5 BLADE REFILL SENSITIVE 12CT</c:v>
                  </c:pt>
                  <c:pt idx="2">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C9553B7-7C81-4719-9686-D693AB3EF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1ACD9B-C9AD-4068-BA68-4667DEECC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FCE359-1965-4F22-AF96-79FBA4F24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EB2E423-7F13-4E72-8F82-088DEE165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A7B4D62-23C6-4CC1-80D6-3E0E516C1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962A437-D3DC-4A5C-975B-BDB901752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FA095D5-16BC-4272-B8AA-3732FBDDD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39999999999998</c:v>
                </c:pt>
                <c:pt idx="1">
                  <c:v>0.42920000000000003</c:v>
                </c:pt>
                <c:pt idx="2">
                  <c:v>0.39600000000000002</c:v>
                </c:pt>
              </c:numCache>
            </c:numRef>
          </c:xVal>
          <c:yVal>
            <c:numRef>
              <c:f>Sheet1!$B$2:$B$4</c:f>
              <c:numCache>
                <c:formatCode>General</c:formatCode>
                <c:ptCount val="3"/>
                <c:pt idx="0">
                  <c:v>745.05970149253733</c:v>
                </c:pt>
                <c:pt idx="1">
                  <c:v>3421.4096385542171</c:v>
                </c:pt>
                <c:pt idx="2">
                  <c:v>2624.6851851851852</c:v>
                </c:pt>
              </c:numCache>
            </c:numRef>
          </c:yVal>
          <c:bubbleSize>
            <c:numRef>
              <c:f>Sheet1!$C$2:$C$4</c:f>
              <c:numCache>
                <c:formatCode>General</c:formatCode>
                <c:ptCount val="3"/>
                <c:pt idx="0">
                  <c:v>30082.322400000001</c:v>
                </c:pt>
                <c:pt idx="1">
                  <c:v>162101.8536</c:v>
                </c:pt>
                <c:pt idx="2">
                  <c:v>85603.147899999982</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B685999-E3CC-4989-9B4B-F9E25A62E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D033BB-D19E-466B-9516-634C95907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443F3B73-91E5-4BD7-9B17-96B1DE7E9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CCF1AFB-0C2F-4EFC-ABB3-3702F10CE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396DC8D-586B-4EB1-88C1-11F496C12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D1F34D6-A388-4D54-8E9D-A1060762C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206EA8B-3F50-4D7D-AB0B-C832B8258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91049999999999998</c:v>
                </c:pt>
                <c:pt idx="1">
                  <c:v>0.32050000000000001</c:v>
                </c:pt>
              </c:numCache>
            </c:numRef>
          </c:xVal>
          <c:yVal>
            <c:numRef>
              <c:f>Sheet1!$B$2:$B$3</c:f>
              <c:numCache>
                <c:formatCode>General</c:formatCode>
                <c:ptCount val="2"/>
                <c:pt idx="0">
                  <c:v>839</c:v>
                </c:pt>
                <c:pt idx="1">
                  <c:v>7307.5535714285706</c:v>
                </c:pt>
              </c:numCache>
            </c:numRef>
          </c:yVal>
          <c:bubbleSize>
            <c:numRef>
              <c:f>Sheet1!$C$2:$C$3</c:f>
              <c:numCache>
                <c:formatCode>General</c:formatCode>
                <c:ptCount val="2"/>
                <c:pt idx="0">
                  <c:v>1341.184</c:v>
                </c:pt>
                <c:pt idx="1">
                  <c:v>278077.10879999999</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EEC3BAF-3259-4827-A8CE-A591843FC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24B023-442A-432F-96FE-822BD4D46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0D8FD2-3466-45B7-862B-FC1BE1CDD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A1B54E-D4DD-4A91-9075-EFF2DD351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F41C7F5-2218-41EB-888E-AA86B905C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2F4311C-EA93-43E1-A273-F5AE2BFDC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637138E-E686-4DA6-9959-B7CDD0E99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89999999999998</c:v>
                </c:pt>
                <c:pt idx="1">
                  <c:v>0.43030000000000002</c:v>
                </c:pt>
                <c:pt idx="2">
                  <c:v>0.35830000000000001</c:v>
                </c:pt>
              </c:numCache>
            </c:numRef>
          </c:xVal>
          <c:yVal>
            <c:numRef>
              <c:f>Sheet1!$B$2:$B$4</c:f>
              <c:numCache>
                <c:formatCode>General</c:formatCode>
                <c:ptCount val="3"/>
                <c:pt idx="0">
                  <c:v>1148.3170731707321</c:v>
                </c:pt>
                <c:pt idx="1">
                  <c:v>4936.0153846153844</c:v>
                </c:pt>
                <c:pt idx="2">
                  <c:v>3361.8</c:v>
                </c:pt>
              </c:numCache>
            </c:numRef>
          </c:yVal>
          <c:bubbleSize>
            <c:numRef>
              <c:f>Sheet1!$C$2:$C$4</c:f>
              <c:numCache>
                <c:formatCode>General</c:formatCode>
                <c:ptCount val="3"/>
                <c:pt idx="0">
                  <c:v>28301.748800000001</c:v>
                </c:pt>
                <c:pt idx="1">
                  <c:v>182797.47649999999</c:v>
                </c:pt>
                <c:pt idx="2">
                  <c:v>86297.400300000008</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3D91B9-03C9-473E-9D38-EC65403D4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C2B33A6-BDFC-4830-A9C4-F64A96986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056C1B-FA54-4D55-9EC0-4981BF5EE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4D5E0F-1F4B-46D4-A6D9-499DDB0E8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86FD0DE-4CAD-41A3-A198-249D441CB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6BD231-309A-4E59-827B-1DDAE7BA1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899B964-C279-40BF-9B74-AB4851C22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64170000000000005</c:v>
                </c:pt>
                <c:pt idx="1">
                  <c:v>0.3211</c:v>
                </c:pt>
                <c:pt idx="2">
                  <c:v>0.2205</c:v>
                </c:pt>
                <c:pt idx="3">
                  <c:v>0.2843</c:v>
                </c:pt>
              </c:numCache>
            </c:numRef>
          </c:xVal>
          <c:yVal>
            <c:numRef>
              <c:f>Sheet1!$B$2:$B$5</c:f>
              <c:numCache>
                <c:formatCode>General</c:formatCode>
                <c:ptCount val="4"/>
                <c:pt idx="0">
                  <c:v>4359</c:v>
                </c:pt>
                <c:pt idx="1">
                  <c:v>57541.387499999997</c:v>
                </c:pt>
                <c:pt idx="2">
                  <c:v>66122.918367346938</c:v>
                </c:pt>
                <c:pt idx="3">
                  <c:v>19381.2</c:v>
                </c:pt>
              </c:numCache>
            </c:numRef>
          </c:yVal>
          <c:bubbleSize>
            <c:numRef>
              <c:f>Sheet1!$C$2:$C$5</c:f>
              <c:numCache>
                <c:formatCode>General</c:formatCode>
                <c:ptCount val="4"/>
                <c:pt idx="0">
                  <c:v>6169.4463999999998</c:v>
                </c:pt>
                <c:pt idx="1">
                  <c:v>3125406.0482000001</c:v>
                </c:pt>
                <c:pt idx="2">
                  <c:v>2525616.0184999998</c:v>
                </c:pt>
                <c:pt idx="3">
                  <c:v>69360.267600000006</c:v>
                </c:pt>
              </c:numCache>
            </c:numRef>
          </c:bubbleSize>
          <c:bubble3D val="0"/>
          <c:extLst>
            <c:ext xmlns:c15="http://schemas.microsoft.com/office/drawing/2012/chart" uri="{02D57815-91ED-43cb-92C2-25804820EDAC}">
              <c15:datalabelsRange>
                <c15:f>Sheet1!$E$2:$E$50</c15:f>
                <c15:dlblRangeCache>
                  <c:ptCount val="49"/>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709939318599438</c:v>
                </c:pt>
                <c:pt idx="1">
                  <c:v>0.24341488493153948</c:v>
                </c:pt>
                <c:pt idx="2">
                  <c:v>4.6230713935869937E-2</c:v>
                </c:pt>
                <c:pt idx="3">
                  <c:v>4.0291297693214836E-2</c:v>
                </c:pt>
                <c:pt idx="4">
                  <c:v>3.9220718455250554E-2</c:v>
                </c:pt>
                <c:pt idx="5">
                  <c:v>1.3513482367956495E-2</c:v>
                </c:pt>
                <c:pt idx="6">
                  <c:v>2.2476461899605861E-4</c:v>
                </c:pt>
                <c:pt idx="7">
                  <c:v>4.74481117828816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5600461893764441</c:v>
                </c:pt>
                <c:pt idx="1">
                  <c:v>0.14124501364686123</c:v>
                </c:pt>
                <c:pt idx="2">
                  <c:v>6.7656938904052083E-2</c:v>
                </c:pt>
                <c:pt idx="3">
                  <c:v>7.4742809153894613E-2</c:v>
                </c:pt>
                <c:pt idx="4">
                  <c:v>0.11116943103086292</c:v>
                </c:pt>
                <c:pt idx="5">
                  <c:v>4.5821960948981742E-2</c:v>
                </c:pt>
                <c:pt idx="6">
                  <c:v>3.359227377703129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0.90099686545966839</c:v>
                </c:pt>
                <c:pt idx="1">
                  <c:v>0.58026448828955735</c:v>
                </c:pt>
                <c:pt idx="2">
                  <c:v>1.4634629912465564</c:v>
                </c:pt>
                <c:pt idx="3">
                  <c:v>1.855060855150404</c:v>
                </c:pt>
                <c:pt idx="4">
                  <c:v>2.8344567720681426</c:v>
                </c:pt>
                <c:pt idx="5">
                  <c:v>3.3908329253187848</c:v>
                </c:pt>
                <c:pt idx="6">
                  <c:v>14.94553454501678</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8C162AE-4BCD-4B10-9636-F2E9E1216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6672E19-EA54-482A-9C1A-53E32D337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9AB7C7-FD42-4B1E-9895-CEBB4AEAB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E05410-F8E8-49CA-B8F6-6DFE02413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23B6892-C868-49B1-A4CE-C9C6F82CD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77DB207-5ED1-4EF5-BE39-678083639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E3F70C5-5418-4BCC-BF72-AD4EF5413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87</c:v>
                </c:pt>
                <c:pt idx="1">
                  <c:v>0.43009999999999998</c:v>
                </c:pt>
                <c:pt idx="2">
                  <c:v>0.40649999999999997</c:v>
                </c:pt>
              </c:numCache>
            </c:numRef>
          </c:xVal>
          <c:yVal>
            <c:numRef>
              <c:f>Sheet1!$B$2:$B$4</c:f>
              <c:numCache>
                <c:formatCode>General</c:formatCode>
                <c:ptCount val="3"/>
                <c:pt idx="0">
                  <c:v>8564.5633802816901</c:v>
                </c:pt>
                <c:pt idx="1">
                  <c:v>46244.011627906977</c:v>
                </c:pt>
                <c:pt idx="2">
                  <c:v>32905.133333333331</c:v>
                </c:pt>
              </c:numCache>
            </c:numRef>
          </c:yVal>
          <c:bubbleSize>
            <c:numRef>
              <c:f>Sheet1!$C$2:$C$4</c:f>
              <c:numCache>
                <c:formatCode>General</c:formatCode>
                <c:ptCount val="3"/>
                <c:pt idx="0">
                  <c:v>365615.01729999989</c:v>
                </c:pt>
                <c:pt idx="1">
                  <c:v>2266539.6035000002</c:v>
                </c:pt>
                <c:pt idx="2">
                  <c:v>1171834.1069</c:v>
                </c:pt>
              </c:numCache>
            </c:numRef>
          </c:bubbleSize>
          <c:bubble3D val="0"/>
          <c:extLst>
            <c:ext xmlns:c15="http://schemas.microsoft.com/office/drawing/2012/chart" uri="{02D57815-91ED-43cb-92C2-25804820EDAC}">
              <c15:datalabelsRange>
                <c15:f>Sheet1!$E$2:$E$50</c15:f>
                <c15:dlblRangeCache>
                  <c:ptCount val="49"/>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52446FF-C74A-4674-B092-D4C2F4366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586D2BF4-EFA6-459A-A7A9-B40217593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1BB04B9-A535-447E-92E9-2A6FC77AF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195AADB-E6E8-43A0-A513-B436B8210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DEC7088-CF06-4DE4-9643-BB3A5B7B0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DFB7CCC-E9D6-4EEF-AF18-79734D0B6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CFBF5BD-9915-475F-8BE5-F36CB2205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4639999999999999</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50</c15:f>
                <c15:dlblRangeCache>
                  <c:ptCount val="49"/>
                  <c:pt idx="0">
                    <c:v>CREMO 5 BLADE REFILL NORMAL 4CT</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D701BD6-25D3-42ED-A53A-1865E24767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AE373A8-3DCD-4639-B2A8-C82A318B1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1F5017-3D99-42CB-870E-A15FC2C4AC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60BA0F-24BB-48B7-AB39-7EFD8AD139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3FFED61-052D-4030-B7F3-E0FFC6189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864C84A-E84A-4B88-9453-45EE0200B9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9F128EA-84AF-4857-A6DA-1848D61A15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B42D31-9646-4672-8CA2-29D234566B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E9140D3-98A0-4796-803A-8F10801030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8C86F9-15BA-42EE-B88E-2F66C374BB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79300000000000004</c:v>
                </c:pt>
                <c:pt idx="1">
                  <c:v>0.75900000000000001</c:v>
                </c:pt>
                <c:pt idx="2">
                  <c:v>0.01</c:v>
                </c:pt>
                <c:pt idx="3">
                  <c:v>0.78500000000000003</c:v>
                </c:pt>
                <c:pt idx="4">
                  <c:v>0.89600000000000002</c:v>
                </c:pt>
                <c:pt idx="5">
                  <c:v>0.85199999999999998</c:v>
                </c:pt>
                <c:pt idx="6">
                  <c:v>0.93899999999999995</c:v>
                </c:pt>
                <c:pt idx="7">
                  <c:v>0.70099999999999996</c:v>
                </c:pt>
                <c:pt idx="8">
                  <c:v>0.63400000000000001</c:v>
                </c:pt>
                <c:pt idx="9">
                  <c:v>0.44800000000000001</c:v>
                </c:pt>
                <c:pt idx="10">
                  <c:v>0.95</c:v>
                </c:pt>
                <c:pt idx="11">
                  <c:v>5.6000000000000001E-2</c:v>
                </c:pt>
                <c:pt idx="12">
                  <c:v>0.84399999999999997</c:v>
                </c:pt>
                <c:pt idx="13">
                  <c:v>4.5999999999999999E-2</c:v>
                </c:pt>
                <c:pt idx="14">
                  <c:v>0.85699999999999998</c:v>
                </c:pt>
              </c:numCache>
            </c:numRef>
          </c:xVal>
          <c:yVal>
            <c:numRef>
              <c:f>Sheet1!$B$2:$B$16</c:f>
              <c:numCache>
                <c:formatCode>General</c:formatCode>
                <c:ptCount val="15"/>
                <c:pt idx="0">
                  <c:v>17181.197982345519</c:v>
                </c:pt>
                <c:pt idx="1">
                  <c:v>14944.044795783921</c:v>
                </c:pt>
                <c:pt idx="2">
                  <c:v>5644</c:v>
                </c:pt>
                <c:pt idx="3">
                  <c:v>68443.006369426745</c:v>
                </c:pt>
                <c:pt idx="4">
                  <c:v>6009.7767857142853</c:v>
                </c:pt>
                <c:pt idx="5">
                  <c:v>48994.894366197179</c:v>
                </c:pt>
                <c:pt idx="6">
                  <c:v>52579.062832800853</c:v>
                </c:pt>
                <c:pt idx="7">
                  <c:v>42879.101283880183</c:v>
                </c:pt>
                <c:pt idx="8">
                  <c:v>7261.4353312302837</c:v>
                </c:pt>
                <c:pt idx="9">
                  <c:v>75992.745535714275</c:v>
                </c:pt>
                <c:pt idx="10">
                  <c:v>42642.536842105263</c:v>
                </c:pt>
                <c:pt idx="11">
                  <c:v>21416.964285714279</c:v>
                </c:pt>
                <c:pt idx="12">
                  <c:v>6803.5545023696686</c:v>
                </c:pt>
                <c:pt idx="13">
                  <c:v>21986.73913043478</c:v>
                </c:pt>
                <c:pt idx="14">
                  <c:v>51342.777129521593</c:v>
                </c:pt>
              </c:numCache>
            </c:numRef>
          </c:yVal>
          <c:bubbleSize>
            <c:numRef>
              <c:f>Sheet1!$C$2:$C$16</c:f>
              <c:numCache>
                <c:formatCode>General</c:formatCode>
                <c:ptCount val="15"/>
                <c:pt idx="0">
                  <c:v>1058631.9765999999</c:v>
                </c:pt>
                <c:pt idx="1">
                  <c:v>838701.68579999998</c:v>
                </c:pt>
                <c:pt idx="2">
                  <c:v>8139.9551999999994</c:v>
                </c:pt>
                <c:pt idx="3">
                  <c:v>3648181.7445999999</c:v>
                </c:pt>
                <c:pt idx="4">
                  <c:v>350237.70730000013</c:v>
                </c:pt>
                <c:pt idx="5">
                  <c:v>2538781.9904</c:v>
                </c:pt>
                <c:pt idx="6">
                  <c:v>3200726.89</c:v>
                </c:pt>
                <c:pt idx="7">
                  <c:v>1920827.2086</c:v>
                </c:pt>
                <c:pt idx="8">
                  <c:v>301018.2378</c:v>
                </c:pt>
                <c:pt idx="9">
                  <c:v>2654418.0469</c:v>
                </c:pt>
                <c:pt idx="10">
                  <c:v>2551270.2801999999</c:v>
                </c:pt>
                <c:pt idx="11">
                  <c:v>75862.37519999998</c:v>
                </c:pt>
                <c:pt idx="12">
                  <c:v>390839.13900000002</c:v>
                </c:pt>
                <c:pt idx="13">
                  <c:v>72733.44779999998</c:v>
                </c:pt>
                <c:pt idx="14">
                  <c:v>3101731.209600001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027B2DC-8D39-4457-A446-1BF09E82DA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5442FB5-9F6B-4A94-A9C1-9688AA9CBC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BDFCCE3-8647-46C9-97DD-7485C24107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03470DE-BF1C-4B5E-8CC7-4469F03B3B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54A7570-24B5-4FA3-AD95-DE38914E2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6967FC-5D81-45CC-B1E4-903D8C83DB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1F5AE4F-3965-48FC-964B-32511DB439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8729C23-F7E9-4E4A-8133-AA4C65F0C9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CC24A7-93AB-4171-8E10-C5F1F0A130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169EC7A-F534-4E89-9A9D-4218D6ABBA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3799999999999994</c:v>
                </c:pt>
                <c:pt idx="1">
                  <c:v>0.68899999999999995</c:v>
                </c:pt>
                <c:pt idx="2">
                  <c:v>0.98499999999999999</c:v>
                </c:pt>
                <c:pt idx="3">
                  <c:v>0.751</c:v>
                </c:pt>
                <c:pt idx="4">
                  <c:v>0.84499999999999997</c:v>
                </c:pt>
                <c:pt idx="5">
                  <c:v>0.58399999999999996</c:v>
                </c:pt>
                <c:pt idx="6">
                  <c:v>0.95899999999999996</c:v>
                </c:pt>
                <c:pt idx="7">
                  <c:v>0.91100000000000003</c:v>
                </c:pt>
                <c:pt idx="8">
                  <c:v>0.97799999999999998</c:v>
                </c:pt>
                <c:pt idx="9">
                  <c:v>0.98799999999999999</c:v>
                </c:pt>
              </c:numCache>
            </c:numRef>
          </c:xVal>
          <c:yVal>
            <c:numRef>
              <c:f>Sheet1!$B$2:$B$11</c:f>
              <c:numCache>
                <c:formatCode>General</c:formatCode>
                <c:ptCount val="10"/>
                <c:pt idx="0">
                  <c:v>34693.635394456287</c:v>
                </c:pt>
                <c:pt idx="1">
                  <c:v>10233.43976777939</c:v>
                </c:pt>
                <c:pt idx="2">
                  <c:v>88856.375634517768</c:v>
                </c:pt>
                <c:pt idx="3">
                  <c:v>31615.11318242344</c:v>
                </c:pt>
                <c:pt idx="4">
                  <c:v>54222.520710059172</c:v>
                </c:pt>
                <c:pt idx="5">
                  <c:v>38536.181506849323</c:v>
                </c:pt>
                <c:pt idx="6">
                  <c:v>37190.417101147032</c:v>
                </c:pt>
                <c:pt idx="7">
                  <c:v>39700.241492864981</c:v>
                </c:pt>
                <c:pt idx="8">
                  <c:v>17923.486707566459</c:v>
                </c:pt>
                <c:pt idx="9">
                  <c:v>38983.218623481793</c:v>
                </c:pt>
              </c:numCache>
            </c:numRef>
          </c:yVal>
          <c:bubbleSize>
            <c:numRef>
              <c:f>Sheet1!$C$2:$C$11</c:f>
              <c:numCache>
                <c:formatCode>General</c:formatCode>
                <c:ptCount val="10"/>
                <c:pt idx="0">
                  <c:v>1798622.3696000001</c:v>
                </c:pt>
                <c:pt idx="1">
                  <c:v>423999.08850000001</c:v>
                </c:pt>
                <c:pt idx="2">
                  <c:v>4518773.5040000007</c:v>
                </c:pt>
                <c:pt idx="3">
                  <c:v>1214691.3791</c:v>
                </c:pt>
                <c:pt idx="4">
                  <c:v>2611438.9336000001</c:v>
                </c:pt>
                <c:pt idx="5">
                  <c:v>1343734.6551000001</c:v>
                </c:pt>
                <c:pt idx="6">
                  <c:v>1614221.3448999999</c:v>
                </c:pt>
                <c:pt idx="7">
                  <c:v>1997336.7135999999</c:v>
                </c:pt>
                <c:pt idx="8">
                  <c:v>1228819.4014000001</c:v>
                </c:pt>
                <c:pt idx="9">
                  <c:v>2298580.1269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A73EBA8-7C98-4AD8-AAAB-84ED1AED03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B387C2F-64E6-40CC-B35D-E93EBD99CE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1DB3FE1-8F22-4A0F-874B-3F6D833AA2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A9DAFC2-EFB7-4722-9C90-A7C02916D6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2CDE3AD-EC4E-4D80-AFDC-374B6491A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187411E-AD9A-47AE-9D0C-104FDBB852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5FFF5B5-E8B3-4A2A-9C7D-25C611928D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C7591F2-44D9-4667-9849-A784F5C5F1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96E494C-CE21-4D6C-9728-103B868B65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72CDB3C-89DD-45FA-BBCA-0A0595D6D1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1700000000000001</c:v>
                </c:pt>
                <c:pt idx="1">
                  <c:v>6.4000000000000001E-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62E04E6-D5BC-4D98-BDEA-6D7A11F941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72B25FE-2436-42A6-9BA8-0818E27CBA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DE4BBEB-C6A0-43B6-B065-2A428401C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993E61B-4C7B-42C5-A2E9-1900825905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2A1E5B-EA8B-4A32-BD3C-D54366DF8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914B8BC-1436-4268-9975-D08C179AB5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DFD22A6-91BE-4304-8392-BD0B09D5C8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F9ABD15-F0B3-4FD4-B7A8-92AC491CDB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E7F6E2C-A333-4073-A617-6280744407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86AF31C-62EF-4D71-BC07-FF67203D33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4</c:v>
                </c:pt>
                <c:pt idx="1">
                  <c:v>0.04</c:v>
                </c:pt>
                <c:pt idx="2">
                  <c:v>0.79</c:v>
                </c:pt>
                <c:pt idx="3">
                  <c:v>0.88</c:v>
                </c:pt>
                <c:pt idx="4">
                  <c:v>0.83</c:v>
                </c:pt>
                <c:pt idx="5">
                  <c:v>0.94</c:v>
                </c:pt>
                <c:pt idx="6">
                  <c:v>0.68</c:v>
                </c:pt>
                <c:pt idx="7">
                  <c:v>0.64</c:v>
                </c:pt>
                <c:pt idx="8">
                  <c:v>0.31</c:v>
                </c:pt>
                <c:pt idx="9">
                  <c:v>0.95</c:v>
                </c:pt>
                <c:pt idx="10">
                  <c:v>0.05</c:v>
                </c:pt>
                <c:pt idx="11">
                  <c:v>0.84</c:v>
                </c:pt>
                <c:pt idx="12">
                  <c:v>0.04</c:v>
                </c:pt>
                <c:pt idx="13">
                  <c:v>0.87</c:v>
                </c:pt>
              </c:numCache>
            </c:numRef>
          </c:xVal>
          <c:yVal>
            <c:numRef>
              <c:f>Sheet1!$B$2:$B$15</c:f>
              <c:numCache>
                <c:formatCode>General</c:formatCode>
                <c:ptCount val="14"/>
                <c:pt idx="0">
                  <c:v>1094.75</c:v>
                </c:pt>
                <c:pt idx="1">
                  <c:v>874</c:v>
                </c:pt>
                <c:pt idx="2">
                  <c:v>4560.0253164556962</c:v>
                </c:pt>
                <c:pt idx="3">
                  <c:v>413.27272727272731</c:v>
                </c:pt>
                <c:pt idx="4">
                  <c:v>3435.0481927710839</c:v>
                </c:pt>
                <c:pt idx="5">
                  <c:v>4372</c:v>
                </c:pt>
                <c:pt idx="6">
                  <c:v>3373.205882352941</c:v>
                </c:pt>
                <c:pt idx="7">
                  <c:v>574.65625</c:v>
                </c:pt>
                <c:pt idx="8">
                  <c:v>5275.4193548387093</c:v>
                </c:pt>
                <c:pt idx="9">
                  <c:v>3032.8736842105259</c:v>
                </c:pt>
                <c:pt idx="10">
                  <c:v>999.2</c:v>
                </c:pt>
                <c:pt idx="11">
                  <c:v>506.07142857142861</c:v>
                </c:pt>
                <c:pt idx="12">
                  <c:v>1055.75</c:v>
                </c:pt>
                <c:pt idx="13">
                  <c:v>3945.977011494253</c:v>
                </c:pt>
              </c:numCache>
            </c:numRef>
          </c:yVal>
          <c:bubbleSize>
            <c:numRef>
              <c:f>Sheet1!$C$2:$C$15</c:f>
              <c:numCache>
                <c:formatCode>General</c:formatCode>
                <c:ptCount val="14"/>
                <c:pt idx="0">
                  <c:v>3101.6833000000001</c:v>
                </c:pt>
                <c:pt idx="1">
                  <c:v>2412.9196000000002</c:v>
                </c:pt>
                <c:pt idx="2">
                  <c:v>244698.5876</c:v>
                </c:pt>
                <c:pt idx="3">
                  <c:v>23392.570500000002</c:v>
                </c:pt>
                <c:pt idx="4">
                  <c:v>173389.4657</c:v>
                </c:pt>
                <c:pt idx="5">
                  <c:v>263862.60159999999</c:v>
                </c:pt>
                <c:pt idx="6">
                  <c:v>144963.85519999999</c:v>
                </c:pt>
                <c:pt idx="7">
                  <c:v>23760.718799999999</c:v>
                </c:pt>
                <c:pt idx="8">
                  <c:v>127660.91680000001</c:v>
                </c:pt>
                <c:pt idx="9">
                  <c:v>180016.2997</c:v>
                </c:pt>
                <c:pt idx="10">
                  <c:v>3205.0187999999998</c:v>
                </c:pt>
                <c:pt idx="11">
                  <c:v>28611.328399999999</c:v>
                </c:pt>
                <c:pt idx="12">
                  <c:v>3367.1781000000001</c:v>
                </c:pt>
                <c:pt idx="13">
                  <c:v>239980.5024</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6CT</c:v>
                  </c:pt>
                  <c:pt idx="3">
                    <c:v>SCHICK XTREME 3 SENSITIVE GREEN BLACK 3 BLADE DISPOSABLE SENSITIVE 4CT</c:v>
                  </c:pt>
                  <c:pt idx="4">
                    <c:v>HYDRO 5 SENSITIVE 5 BLADE RAZOR SENSITIVE 3CT</c:v>
                  </c:pt>
                  <c:pt idx="5">
                    <c:v>SCHICK XTREME 2 SENSITIVE 2 BLADE DISPOSABLE NORMAL 12CT</c:v>
                  </c:pt>
                  <c:pt idx="6">
                    <c:v>SCHICK XTREME 3 SENSITIVE BLACK GREEN 3 BLADE DISPOSABLE SENSITIVE 12CT</c:v>
                  </c:pt>
                  <c:pt idx="7">
                    <c:v>SCHICK XTREME 3 SENSITIVE GREEN BLACK 3 BLADE DISPOSABLE SENSITIVE 12CT</c:v>
                  </c:pt>
                  <c:pt idx="8">
                    <c:v>HYDRO 5 SENSITIVE 5 BLADE REFILL SENSITIVE 12CT</c:v>
                  </c:pt>
                  <c:pt idx="9">
                    <c:v>SCHICK XTREME 3 SENSITIVE BLACK 3 BLADE DISPOSABLE SENSITIVE 4CT</c:v>
                  </c:pt>
                  <c:pt idx="10">
                    <c:v>SCHICK HYDRO 3 SENSITIVE 3 BLADE RAZOR SENSITIVE 4CT</c:v>
                  </c:pt>
                  <c:pt idx="11">
                    <c:v>SCHICK XTREME 3 SENSITIVE GREEN BLACK 3 BLADE DISPOSABLE SENSITIVE 8CT</c:v>
                  </c:pt>
                  <c:pt idx="12">
                    <c:v>SCHICK HYDRO 3 SENSITIVE 3 BLADE REFILL SENSITIVE 5CT</c:v>
                  </c:pt>
                  <c:pt idx="13">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866D988-9CCA-4B5E-9152-AFCE50A49C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BBC68CD-3AC8-4D59-85F7-2D60ED6009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DC8F0AA-87FC-48D3-A5E5-D9E97E99E0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FAE907A-4910-4ABE-8244-64F1F9AF63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CBE93C-1DC3-47AF-BB96-C656548A5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1F7F520-D39E-4546-96E6-C53E321A5D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AF3E57D-4A16-489D-9002-2698EE108E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54C80BF-3996-4AED-A7E0-9280DE5AAC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3D49771-FA13-4C3D-AF68-B3E6A5C153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077707-0E8C-41B8-9D50-4FF278DC02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5</c:v>
                </c:pt>
                <c:pt idx="1">
                  <c:v>0.67</c:v>
                </c:pt>
                <c:pt idx="2">
                  <c:v>0.98</c:v>
                </c:pt>
                <c:pt idx="3">
                  <c:v>0.7</c:v>
                </c:pt>
                <c:pt idx="4">
                  <c:v>0.83</c:v>
                </c:pt>
                <c:pt idx="5">
                  <c:v>0.54</c:v>
                </c:pt>
                <c:pt idx="6">
                  <c:v>0.94</c:v>
                </c:pt>
                <c:pt idx="7">
                  <c:v>0.9</c:v>
                </c:pt>
                <c:pt idx="8">
                  <c:v>0.97</c:v>
                </c:pt>
                <c:pt idx="9">
                  <c:v>0.99</c:v>
                </c:pt>
              </c:numCache>
            </c:numRef>
          </c:xVal>
          <c:yVal>
            <c:numRef>
              <c:f>Sheet1!$B$2:$B$11</c:f>
              <c:numCache>
                <c:formatCode>General</c:formatCode>
                <c:ptCount val="10"/>
                <c:pt idx="0">
                  <c:v>2490.9578947368418</c:v>
                </c:pt>
                <c:pt idx="1">
                  <c:v>745.05970149253733</c:v>
                </c:pt>
                <c:pt idx="2">
                  <c:v>6191.2653061224491</c:v>
                </c:pt>
                <c:pt idx="3">
                  <c:v>2192.542857142857</c:v>
                </c:pt>
                <c:pt idx="4">
                  <c:v>3421.4096385542171</c:v>
                </c:pt>
                <c:pt idx="5">
                  <c:v>2624.6851851851852</c:v>
                </c:pt>
                <c:pt idx="6">
                  <c:v>2380.0744680851062</c:v>
                </c:pt>
                <c:pt idx="7">
                  <c:v>2854.1777777777779</c:v>
                </c:pt>
                <c:pt idx="8">
                  <c:v>1268.855670103093</c:v>
                </c:pt>
                <c:pt idx="9">
                  <c:v>3147.9191919191921</c:v>
                </c:pt>
              </c:numCache>
            </c:numRef>
          </c:yVal>
          <c:bubbleSize>
            <c:numRef>
              <c:f>Sheet1!$C$2:$C$11</c:f>
              <c:numCache>
                <c:formatCode>General</c:formatCode>
                <c:ptCount val="10"/>
                <c:pt idx="0">
                  <c:v>129385.6139</c:v>
                </c:pt>
                <c:pt idx="1">
                  <c:v>30082.322400000001</c:v>
                </c:pt>
                <c:pt idx="2">
                  <c:v>310226.51689999999</c:v>
                </c:pt>
                <c:pt idx="3">
                  <c:v>78650.092899999989</c:v>
                </c:pt>
                <c:pt idx="4">
                  <c:v>162101.8536</c:v>
                </c:pt>
                <c:pt idx="5">
                  <c:v>85603.147899999982</c:v>
                </c:pt>
                <c:pt idx="6">
                  <c:v>100468.05989999999</c:v>
                </c:pt>
                <c:pt idx="7">
                  <c:v>141820.57579999999</c:v>
                </c:pt>
                <c:pt idx="8">
                  <c:v>85078.340200000021</c:v>
                </c:pt>
                <c:pt idx="9">
                  <c:v>185958.4334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F32B3C4-BD71-47C5-883F-6982E0E784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AB131E-123A-4BD0-ABF7-CC38CADF9A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A859894-1E11-48C4-8DCC-BB915C3F4A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3CCB1E3-FCAF-4A5D-9E80-F5921FA49E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2DC435A-6118-4395-B35E-F74E0E77A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228D202-D6A7-45C7-891A-5953A56574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5F9AECC-C18D-4DCB-97BF-623009C4F5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872C9D1-133D-451C-A41B-3DAEABBA84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05FC15B-E1FF-4155-BF74-B6AE484432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4B09FD-849F-4506-AFB4-DAADC48535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35379F9-F454-4A8F-A15D-2A030CFD4F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08CD6C3-232E-48B8-9054-8BCADB228B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4457837-8036-4D0C-B960-62671EAA9B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4BB1190-0B1B-47DE-8788-3437A28E29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C906E2-36D4-4AD7-BFF5-9A2521E92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69359BC-7117-48AE-B2DE-A0AE963269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4E53760-2D52-4CFF-8185-BB9A906F40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A5478A9-9878-468C-8FDB-5AF6139AC6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EB807D-EBA8-4B9F-9ED9-E91AEE022D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0B66D6F-C217-40E9-A3E6-97DE7EC9AD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1</c:v>
                </c:pt>
                <c:pt idx="1">
                  <c:v>0.56000000000000005</c:v>
                </c:pt>
                <c:pt idx="2">
                  <c:v>0.71</c:v>
                </c:pt>
                <c:pt idx="3">
                  <c:v>0.61</c:v>
                </c:pt>
                <c:pt idx="4">
                  <c:v>0.77</c:v>
                </c:pt>
                <c:pt idx="5">
                  <c:v>0.3</c:v>
                </c:pt>
                <c:pt idx="6">
                  <c:v>0.24</c:v>
                </c:pt>
                <c:pt idx="7">
                  <c:v>0.81</c:v>
                </c:pt>
                <c:pt idx="8">
                  <c:v>0.61</c:v>
                </c:pt>
                <c:pt idx="9">
                  <c:v>0.65</c:v>
                </c:pt>
              </c:numCache>
            </c:numRef>
          </c:xVal>
          <c:yVal>
            <c:numRef>
              <c:f>Sheet1!$B$2:$B$11</c:f>
              <c:numCache>
                <c:formatCode>General</c:formatCode>
                <c:ptCount val="10"/>
                <c:pt idx="0">
                  <c:v>839</c:v>
                </c:pt>
                <c:pt idx="1">
                  <c:v>7307.5535714285706</c:v>
                </c:pt>
                <c:pt idx="2">
                  <c:v>536.43661971830988</c:v>
                </c:pt>
                <c:pt idx="3">
                  <c:v>4743.377049180328</c:v>
                </c:pt>
                <c:pt idx="4">
                  <c:v>4400.727272727273</c:v>
                </c:pt>
                <c:pt idx="5">
                  <c:v>4859.9333333333334</c:v>
                </c:pt>
                <c:pt idx="6">
                  <c:v>743.54166666666663</c:v>
                </c:pt>
                <c:pt idx="7">
                  <c:v>3557.6049382716051</c:v>
                </c:pt>
                <c:pt idx="8">
                  <c:v>609.59016393442619</c:v>
                </c:pt>
                <c:pt idx="9">
                  <c:v>5031.3076923076924</c:v>
                </c:pt>
              </c:numCache>
            </c:numRef>
          </c:yVal>
          <c:bubbleSize>
            <c:numRef>
              <c:f>Sheet1!$C$2:$C$11</c:f>
              <c:numCache>
                <c:formatCode>General</c:formatCode>
                <c:ptCount val="10"/>
                <c:pt idx="0">
                  <c:v>1341.184</c:v>
                </c:pt>
                <c:pt idx="1">
                  <c:v>278077.10879999999</c:v>
                </c:pt>
                <c:pt idx="2">
                  <c:v>24732.3076</c:v>
                </c:pt>
                <c:pt idx="3">
                  <c:v>175947.76449999999</c:v>
                </c:pt>
                <c:pt idx="4">
                  <c:v>219178.04300000001</c:v>
                </c:pt>
                <c:pt idx="5">
                  <c:v>93532.547699999996</c:v>
                </c:pt>
                <c:pt idx="6">
                  <c:v>11674.0008</c:v>
                </c:pt>
                <c:pt idx="7">
                  <c:v>181395.77009999999</c:v>
                </c:pt>
                <c:pt idx="8">
                  <c:v>25231.624599999999</c:v>
                </c:pt>
                <c:pt idx="9">
                  <c:v>230309.52960000001</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SCHICK XTREME 3 SENSITIVE GREEN BLACK 3 BLADE DISPOSABLE SENSITIVE 4CT</c:v>
                  </c:pt>
                  <c:pt idx="3">
                    <c:v>HYDRO 5 SENSITIVE 5 BLADE RAZOR SENSITIVE 3CT</c:v>
                  </c:pt>
                  <c:pt idx="4">
                    <c:v>SCHICK XTREME 2 SENSITIVE 2 BLADE DISPOSABLE NORMAL 12CT</c:v>
                  </c:pt>
                  <c:pt idx="5">
                    <c:v>SCHICK XTREME 3 SENSITIVE BLACK GREEN 3 BLADE DISPOSABLE SENSITIVE 12CT</c:v>
                  </c:pt>
                  <c:pt idx="6">
                    <c:v>SCHICK XTREME 3 SENSITIVE GREEN BLACK 3 BLADE DISPOSABLE SENSITIVE 12CT</c:v>
                  </c:pt>
                  <c:pt idx="7">
                    <c:v>SCHICK XTREME 3 SENSITIVE BLACK 3 BLADE DISPOSABLE SENSITIVE 4CT</c:v>
                  </c:pt>
                  <c:pt idx="8">
                    <c:v>SCHICK XTREME 3 SENSITIVE GREEN BLACK 3 BLADE DISPOSABLE SENSITIVE 8CT</c:v>
                  </c:pt>
                  <c:pt idx="9">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C8F9C75-4CAB-4E5A-A004-B144D3D599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6FBF72-3538-4DEA-8DB7-1AEF0A2BA8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7AB5AC3-A9A3-426D-9B5E-37125F71FD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CABE5A5-7732-465F-BB9C-7DD4DE786A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262AEC-AE0F-4B9F-93E7-B7B9EBED0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869A609-D4D6-4C01-BC6E-EEE9D69861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91FD712-FB43-4C78-9729-4CB94A2310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E8535C1-3356-41D1-B6E7-DD38A4DA01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41B3046-951C-44B3-8345-771B7676ED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082F7B0-7CB7-4DE9-8E7E-9D24EA7A5D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4</c:v>
                </c:pt>
                <c:pt idx="1">
                  <c:v>0.41</c:v>
                </c:pt>
                <c:pt idx="2">
                  <c:v>0.91</c:v>
                </c:pt>
                <c:pt idx="3">
                  <c:v>0.53</c:v>
                </c:pt>
                <c:pt idx="4">
                  <c:v>0.65</c:v>
                </c:pt>
                <c:pt idx="5">
                  <c:v>0.4</c:v>
                </c:pt>
                <c:pt idx="6">
                  <c:v>0.82</c:v>
                </c:pt>
                <c:pt idx="7">
                  <c:v>0.65</c:v>
                </c:pt>
                <c:pt idx="8">
                  <c:v>0.95</c:v>
                </c:pt>
                <c:pt idx="9">
                  <c:v>0.95</c:v>
                </c:pt>
              </c:numCache>
            </c:numRef>
          </c:xVal>
          <c:yVal>
            <c:numRef>
              <c:f>Sheet1!$B$2:$B$11</c:f>
              <c:numCache>
                <c:formatCode>General</c:formatCode>
                <c:ptCount val="10"/>
                <c:pt idx="0">
                  <c:v>2923.9189189189192</c:v>
                </c:pt>
                <c:pt idx="1">
                  <c:v>1148.3170731707321</c:v>
                </c:pt>
                <c:pt idx="2">
                  <c:v>5807.0109890109889</c:v>
                </c:pt>
                <c:pt idx="3">
                  <c:v>3302.6981132075471</c:v>
                </c:pt>
                <c:pt idx="4">
                  <c:v>4936.0153846153844</c:v>
                </c:pt>
                <c:pt idx="5">
                  <c:v>3361.8</c:v>
                </c:pt>
                <c:pt idx="6">
                  <c:v>2862.6341463414628</c:v>
                </c:pt>
                <c:pt idx="7">
                  <c:v>3479.353846153846</c:v>
                </c:pt>
                <c:pt idx="8">
                  <c:v>1727.1789473684209</c:v>
                </c:pt>
                <c:pt idx="9">
                  <c:v>3081.3052631578948</c:v>
                </c:pt>
              </c:numCache>
            </c:numRef>
          </c:yVal>
          <c:bubbleSize>
            <c:numRef>
              <c:f>Sheet1!$C$2:$C$11</c:f>
              <c:numCache>
                <c:formatCode>General</c:formatCode>
                <c:ptCount val="10"/>
                <c:pt idx="0">
                  <c:v>119428.2879</c:v>
                </c:pt>
                <c:pt idx="1">
                  <c:v>28301.748800000001</c:v>
                </c:pt>
                <c:pt idx="2">
                  <c:v>272475.62770000001</c:v>
                </c:pt>
                <c:pt idx="3">
                  <c:v>89489.170400000003</c:v>
                </c:pt>
                <c:pt idx="4">
                  <c:v>182797.47649999999</c:v>
                </c:pt>
                <c:pt idx="5">
                  <c:v>86297.400300000008</c:v>
                </c:pt>
                <c:pt idx="6">
                  <c:v>106130.8149</c:v>
                </c:pt>
                <c:pt idx="7">
                  <c:v>125001.96189999999</c:v>
                </c:pt>
                <c:pt idx="8">
                  <c:v>114348.9244</c:v>
                </c:pt>
                <c:pt idx="9">
                  <c:v>174687.4378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EBFBB7B-F1B4-43D1-986E-E151BFE376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84163EF-84F0-48FA-AE5A-684066DD6A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161DD6-7F23-431F-8BBA-D785873097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D218726-96E9-4FCB-A0A8-51FAD3E12F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560BD4C-8AB8-4801-A530-848C21FAD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A2C3821-6A2A-4F9D-8183-7B3CE90923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B917B7F-60A9-411F-B200-774CB1EBCE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25BDF1-45C1-438F-A5B0-3F9DC38D8B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A88023D-D91C-4911-A7A2-B8D1C8D99C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0445ACB-F6D1-4C26-A459-9D1264FBE8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91</c:v>
                </c:pt>
                <c:pt idx="1">
                  <c:v>0.87</c:v>
                </c:pt>
                <c:pt idx="2">
                  <c:v>0.01</c:v>
                </c:pt>
                <c:pt idx="3">
                  <c:v>0.8</c:v>
                </c:pt>
                <c:pt idx="4">
                  <c:v>0.91</c:v>
                </c:pt>
                <c:pt idx="5">
                  <c:v>0.87</c:v>
                </c:pt>
                <c:pt idx="6">
                  <c:v>0.95</c:v>
                </c:pt>
                <c:pt idx="7">
                  <c:v>0.73</c:v>
                </c:pt>
                <c:pt idx="8">
                  <c:v>0.66</c:v>
                </c:pt>
                <c:pt idx="9">
                  <c:v>0.49</c:v>
                </c:pt>
                <c:pt idx="10">
                  <c:v>0.96</c:v>
                </c:pt>
                <c:pt idx="11">
                  <c:v>0.06</c:v>
                </c:pt>
                <c:pt idx="12">
                  <c:v>0.86</c:v>
                </c:pt>
                <c:pt idx="13">
                  <c:v>0.05</c:v>
                </c:pt>
                <c:pt idx="14">
                  <c:v>0.87</c:v>
                </c:pt>
              </c:numCache>
            </c:numRef>
          </c:xVal>
          <c:yVal>
            <c:numRef>
              <c:f>Sheet1!$B$2:$B$16</c:f>
              <c:numCache>
                <c:formatCode>General</c:formatCode>
                <c:ptCount val="15"/>
                <c:pt idx="0">
                  <c:v>14923.912087912089</c:v>
                </c:pt>
                <c:pt idx="1">
                  <c:v>12997.022988505751</c:v>
                </c:pt>
                <c:pt idx="2">
                  <c:v>4359</c:v>
                </c:pt>
                <c:pt idx="3">
                  <c:v>57541.387499999997</c:v>
                </c:pt>
                <c:pt idx="4">
                  <c:v>5099.131868131868</c:v>
                </c:pt>
                <c:pt idx="5">
                  <c:v>41378.275862068956</c:v>
                </c:pt>
                <c:pt idx="6">
                  <c:v>44077.368421052633</c:v>
                </c:pt>
                <c:pt idx="7">
                  <c:v>36036.28767123288</c:v>
                </c:pt>
                <c:pt idx="8">
                  <c:v>6147.757575757576</c:v>
                </c:pt>
                <c:pt idx="9">
                  <c:v>66122.918367346938</c:v>
                </c:pt>
                <c:pt idx="10">
                  <c:v>36195.333333333343</c:v>
                </c:pt>
                <c:pt idx="11">
                  <c:v>19149.166666666672</c:v>
                </c:pt>
                <c:pt idx="12">
                  <c:v>5750.2906976744189</c:v>
                </c:pt>
                <c:pt idx="13">
                  <c:v>19381.2</c:v>
                </c:pt>
                <c:pt idx="14">
                  <c:v>42870.586206896551</c:v>
                </c:pt>
              </c:numCache>
            </c:numRef>
          </c:yVal>
          <c:bubbleSize>
            <c:numRef>
              <c:f>Sheet1!$C$2:$C$16</c:f>
              <c:numCache>
                <c:formatCode>General</c:formatCode>
                <c:ptCount val="15"/>
                <c:pt idx="0">
                  <c:v>1055523.5941999999</c:v>
                </c:pt>
                <c:pt idx="1">
                  <c:v>836275.50840000005</c:v>
                </c:pt>
                <c:pt idx="2">
                  <c:v>6169.4463999999998</c:v>
                </c:pt>
                <c:pt idx="3">
                  <c:v>3125406.0482000001</c:v>
                </c:pt>
                <c:pt idx="4">
                  <c:v>302112.82919999998</c:v>
                </c:pt>
                <c:pt idx="5">
                  <c:v>2189444.7601999999</c:v>
                </c:pt>
                <c:pt idx="6">
                  <c:v>2717686.2453999999</c:v>
                </c:pt>
                <c:pt idx="7">
                  <c:v>1682330.8056999999</c:v>
                </c:pt>
                <c:pt idx="8">
                  <c:v>265583.51819999999</c:v>
                </c:pt>
                <c:pt idx="9">
                  <c:v>2525616.0184999998</c:v>
                </c:pt>
                <c:pt idx="10">
                  <c:v>2189858.2104000002</c:v>
                </c:pt>
                <c:pt idx="11">
                  <c:v>72621.147599999997</c:v>
                </c:pt>
                <c:pt idx="12">
                  <c:v>336996.18599999999</c:v>
                </c:pt>
                <c:pt idx="13">
                  <c:v>69360.267600000006</c:v>
                </c:pt>
                <c:pt idx="14">
                  <c:v>2631441.177600000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SCHICK XTREME 3 SENSITIVE GREEN HOLIDAY GIFT PACK 3 BLADE DISPOSABLE SENSITIVE 8CT</c:v>
                  </c:pt>
                  <c:pt idx="2">
                    <c:v>HYDRO 5 SENSITIVE 5 BLADE REFILL SENSITIVE 4CT</c:v>
                  </c:pt>
                  <c:pt idx="3">
                    <c:v>HYDRO 5 SENSITIVE 5 BLADE REFILL SENSITIVE 6CT</c:v>
                  </c:pt>
                  <c:pt idx="4">
                    <c:v>SCHICK XTREME 3 SENSITIVE GREEN BLACK 3 BLADE DISPOSABLE SENSITIVE 4CT</c:v>
                  </c:pt>
                  <c:pt idx="5">
                    <c:v>HYDRO 5 SENSITIVE 5 BLADE RAZOR SENSITIVE 3CT</c:v>
                  </c:pt>
                  <c:pt idx="6">
                    <c:v>SCHICK XTREME 2 SENSITIVE 2 BLADE DISPOSABLE NORMAL 12CT</c:v>
                  </c:pt>
                  <c:pt idx="7">
                    <c:v>SCHICK XTREME 3 SENSITIVE BLACK GREEN 3 BLADE DISPOSABLE SENSITIVE 12CT</c:v>
                  </c:pt>
                  <c:pt idx="8">
                    <c:v>SCHICK XTREME 3 SENSITIVE GREEN BLACK 3 BLADE DISPOSABLE SENSITIVE 12CT</c:v>
                  </c:pt>
                  <c:pt idx="9">
                    <c:v>HYDRO 5 SENSITIVE 5 BLADE REFILL SENSITIVE 12CT</c:v>
                  </c:pt>
                  <c:pt idx="10">
                    <c:v>SCHICK XTREME 3 SENSITIVE BLACK 3 BLADE DISPOSABLE SENSITIVE 4CT</c:v>
                  </c:pt>
                  <c:pt idx="11">
                    <c:v>SCHICK HYDRO 3 SENSITIVE 3 BLADE RAZOR SENSITIVE 4CT</c:v>
                  </c:pt>
                  <c:pt idx="12">
                    <c:v>SCHICK XTREME 3 SENSITIVE GREEN BLACK 3 BLADE DISPOSABLE SENSITIVE 8CT</c:v>
                  </c:pt>
                  <c:pt idx="13">
                    <c:v>SCHICK HYDRO 3 SENSITIVE 3 BLADE REFILL SENSITIVE 5CT</c:v>
                  </c:pt>
                  <c:pt idx="14">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9EB7F2-9E9C-4893-93E9-D279744DF0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CBDBD00-D6C3-4704-ACD0-2CE0A0DF97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A356AFB-5810-4A1B-A30D-5CEDD686F4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DDC7E71-DD4D-478B-8265-C3B4443037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0229D90-B90D-43B5-AEE6-117E14D03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992E120-44A1-4320-9A9A-87B304961C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1768481-AFAD-4639-A5F9-D5CE473669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9D511AE-0F09-4458-98CA-A0ACD63995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3DC66C-321A-4AAE-98CB-19D2744C38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682A726-16F3-4B8B-A7A3-351DBDC1EE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5</c:v>
                </c:pt>
                <c:pt idx="1">
                  <c:v>0.71</c:v>
                </c:pt>
                <c:pt idx="2">
                  <c:v>0.99</c:v>
                </c:pt>
                <c:pt idx="3">
                  <c:v>0.77</c:v>
                </c:pt>
                <c:pt idx="4">
                  <c:v>0.86</c:v>
                </c:pt>
                <c:pt idx="5">
                  <c:v>0.6</c:v>
                </c:pt>
                <c:pt idx="6">
                  <c:v>0.97</c:v>
                </c:pt>
                <c:pt idx="7">
                  <c:v>0.93</c:v>
                </c:pt>
                <c:pt idx="8">
                  <c:v>0.98</c:v>
                </c:pt>
                <c:pt idx="9">
                  <c:v>0.99</c:v>
                </c:pt>
              </c:numCache>
            </c:numRef>
          </c:xVal>
          <c:yVal>
            <c:numRef>
              <c:f>Sheet1!$B$2:$B$11</c:f>
              <c:numCache>
                <c:formatCode>General</c:formatCode>
                <c:ptCount val="10"/>
                <c:pt idx="0">
                  <c:v>29486.863157894739</c:v>
                </c:pt>
                <c:pt idx="1">
                  <c:v>8564.5633802816901</c:v>
                </c:pt>
                <c:pt idx="2">
                  <c:v>76941.121212121216</c:v>
                </c:pt>
                <c:pt idx="3">
                  <c:v>26568.493506493509</c:v>
                </c:pt>
                <c:pt idx="4">
                  <c:v>46244.011627906977</c:v>
                </c:pt>
                <c:pt idx="5">
                  <c:v>32905.133333333331</c:v>
                </c:pt>
                <c:pt idx="6">
                  <c:v>32042.247422680412</c:v>
                </c:pt>
                <c:pt idx="7">
                  <c:v>33695.247311827959</c:v>
                </c:pt>
                <c:pt idx="8">
                  <c:v>14956.693877551021</c:v>
                </c:pt>
                <c:pt idx="9">
                  <c:v>32799.737373737371</c:v>
                </c:pt>
              </c:numCache>
            </c:numRef>
          </c:yVal>
          <c:bubbleSize>
            <c:numRef>
              <c:f>Sheet1!$C$2:$C$11</c:f>
              <c:numCache>
                <c:formatCode>General</c:formatCode>
                <c:ptCount val="10"/>
                <c:pt idx="0">
                  <c:v>1549808.4678</c:v>
                </c:pt>
                <c:pt idx="1">
                  <c:v>365615.01729999989</c:v>
                </c:pt>
                <c:pt idx="2">
                  <c:v>3936071.3594</c:v>
                </c:pt>
                <c:pt idx="3">
                  <c:v>1046552.1158</c:v>
                </c:pt>
                <c:pt idx="4">
                  <c:v>2266539.6035000002</c:v>
                </c:pt>
                <c:pt idx="5">
                  <c:v>1171834.1069</c:v>
                </c:pt>
                <c:pt idx="6">
                  <c:v>1407622.4701</c:v>
                </c:pt>
                <c:pt idx="7">
                  <c:v>1730514.1758999999</c:v>
                </c:pt>
                <c:pt idx="8">
                  <c:v>1029392.1368</c:v>
                </c:pt>
                <c:pt idx="9">
                  <c:v>1937934.2557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EASY FIT 5 5 BLADE REFILL NORMAL 12CT</c:v>
                  </c:pt>
                  <c:pt idx="2">
                    <c:v>EQUATE CALIBER 5 5 BLADE DISPOSABLE NORMAL 3CT</c:v>
                  </c:pt>
                  <c:pt idx="3">
                    <c:v>EQUATE EASY FIT 5 5 BLADE RAZOR NORMAL 2CT</c:v>
                  </c:pt>
                  <c:pt idx="4">
                    <c:v>EQUATE EASY FIT 5 5 BLADE REFILL NORMAL 4CT</c:v>
                  </c:pt>
                  <c:pt idx="5">
                    <c:v>EQUATE EASY FIT 5 5 BLADE REFILL NORMAL 8CT</c:v>
                  </c:pt>
                  <c:pt idx="6">
                    <c:v>EQUATE SPEED 3 SENSITIVE GREEN 3 BLADE DISPOSABLE SENSITIVE 4CT</c:v>
                  </c:pt>
                  <c:pt idx="7">
                    <c:v>EQUATE SPEED 3 SENSITIVE GREEN 3 BLADE DISPOSABLE SENSITIVE 8CT</c:v>
                  </c:pt>
                  <c:pt idx="8">
                    <c:v>EQUATE TB (TWIN BLADE) BLUE 2 BLADE DISPOSABLE NORMAL 5CT</c:v>
                  </c:pt>
                  <c:pt idx="9">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20B406-CACD-4036-ADC1-BC8814F9DF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8429EF0-1DB0-4B43-93CC-75BBA48B4B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AD9056E-8168-44DF-8B98-0E5E84A9F7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0FF2BB-F4AC-45CA-85E8-4B94CA1726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4BE8A92-DBEC-4BFA-9EC5-AA1C0D2F9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08AA3E0-1BC2-4E68-A574-B7C3B90DE7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9C42F6F-3FEC-43E4-8D19-3FFE41B0B3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73AFF74-06E8-44D5-9430-24371A6D04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E143957-F07B-45E3-9E2C-D99C24CDDC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9680D0A-37F5-40E4-8A6E-55FF3BCDF3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c:v>
                </c:pt>
                <c:pt idx="1">
                  <c:v>7.0000000000000007E-2</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BD79CC3-4243-4572-8707-84D387D4C0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64D9E1E-AB90-4799-BC58-00257F1B2F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FFA0DB0-147C-43F7-B571-07BDCC79B3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4E6B2BB-13E5-4757-AE57-AF3B28977C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496C704-BC39-4422-B186-A7A5D04F1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A040DFD-E828-40BC-9AD4-3B598F0C10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BB92A54-CE33-4CBC-856B-4864F0932B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B4C0C5F-4507-4DDE-9554-13217E08F4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C1FE7B0-69D2-46E4-819A-852B40C3D8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8948CA-0E57-4865-ACB6-1F7DEC5BB0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9300000000000004</c:v>
                </c:pt>
                <c:pt idx="1">
                  <c:v>0.01</c:v>
                </c:pt>
                <c:pt idx="2">
                  <c:v>0.78500000000000003</c:v>
                </c:pt>
                <c:pt idx="3">
                  <c:v>0.85199999999999998</c:v>
                </c:pt>
                <c:pt idx="4">
                  <c:v>0.44800000000000001</c:v>
                </c:pt>
                <c:pt idx="5">
                  <c:v>5.6000000000000001E-2</c:v>
                </c:pt>
                <c:pt idx="6">
                  <c:v>4.5999999999999999E-2</c:v>
                </c:pt>
              </c:numCache>
            </c:numRef>
          </c:xVal>
          <c:yVal>
            <c:numRef>
              <c:f>Sheet1!$B$2:$B$8</c:f>
              <c:numCache>
                <c:formatCode>General</c:formatCode>
                <c:ptCount val="7"/>
                <c:pt idx="0">
                  <c:v>17181.197982345519</c:v>
                </c:pt>
                <c:pt idx="1">
                  <c:v>5644</c:v>
                </c:pt>
                <c:pt idx="2">
                  <c:v>68443.006369426745</c:v>
                </c:pt>
                <c:pt idx="3">
                  <c:v>48994.894366197179</c:v>
                </c:pt>
                <c:pt idx="4">
                  <c:v>75992.745535714275</c:v>
                </c:pt>
                <c:pt idx="5">
                  <c:v>21416.964285714279</c:v>
                </c:pt>
                <c:pt idx="6">
                  <c:v>21986.73913043478</c:v>
                </c:pt>
              </c:numCache>
            </c:numRef>
          </c:yVal>
          <c:bubbleSize>
            <c:numRef>
              <c:f>Sheet1!$C$2:$C$8</c:f>
              <c:numCache>
                <c:formatCode>General</c:formatCode>
                <c:ptCount val="7"/>
                <c:pt idx="0">
                  <c:v>1058631.9765999999</c:v>
                </c:pt>
                <c:pt idx="1">
                  <c:v>8139.9551999999994</c:v>
                </c:pt>
                <c:pt idx="2">
                  <c:v>3648181.7445999999</c:v>
                </c:pt>
                <c:pt idx="3">
                  <c:v>2538781.9904</c:v>
                </c:pt>
                <c:pt idx="4">
                  <c:v>2654418.0469</c:v>
                </c:pt>
                <c:pt idx="5">
                  <c:v>75862.37519999998</c:v>
                </c:pt>
                <c:pt idx="6">
                  <c:v>72733.4477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3BC07D-D9BD-4E99-9762-D8CF291563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6B9EC8-AB67-4A5F-B9B5-68D5E8857A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078E37B-42A9-4D53-9F9B-88ADC2F136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873A30-9D31-433C-9B1F-B2D710D20B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F61DE74-15E8-4D05-8FFD-690BF6746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4EEF78-8CA5-4FF2-8DA9-28B51B51A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87D369A-E16A-4E75-A5A3-F1433BB90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5191E3-E5B3-4A72-B8CD-5AEA9F40DF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AC047F1-7CF1-4951-B674-AFBAEAF5D4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4BF289E-0B44-4328-8D80-148481EA89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8899999999999995</c:v>
                </c:pt>
                <c:pt idx="1">
                  <c:v>0.751</c:v>
                </c:pt>
                <c:pt idx="2">
                  <c:v>0.84499999999999997</c:v>
                </c:pt>
                <c:pt idx="3">
                  <c:v>0.58399999999999996</c:v>
                </c:pt>
              </c:numCache>
            </c:numRef>
          </c:xVal>
          <c:yVal>
            <c:numRef>
              <c:f>Sheet1!$B$2:$B$5</c:f>
              <c:numCache>
                <c:formatCode>General</c:formatCode>
                <c:ptCount val="4"/>
                <c:pt idx="0">
                  <c:v>10233.43976777939</c:v>
                </c:pt>
                <c:pt idx="1">
                  <c:v>31615.11318242344</c:v>
                </c:pt>
                <c:pt idx="2">
                  <c:v>54222.520710059172</c:v>
                </c:pt>
                <c:pt idx="3">
                  <c:v>38536.181506849323</c:v>
                </c:pt>
              </c:numCache>
            </c:numRef>
          </c:yVal>
          <c:bubbleSize>
            <c:numRef>
              <c:f>Sheet1!$C$2:$C$5</c:f>
              <c:numCache>
                <c:formatCode>General</c:formatCode>
                <c:ptCount val="4"/>
                <c:pt idx="0">
                  <c:v>423999.08850000001</c:v>
                </c:pt>
                <c:pt idx="1">
                  <c:v>1214691.3791</c:v>
                </c:pt>
                <c:pt idx="2">
                  <c:v>2611438.9336000001</c:v>
                </c:pt>
                <c:pt idx="3">
                  <c:v>1343734.6551000001</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DC592A1-BB1F-4710-964F-5C8B5A1ABF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E34129B-CC6C-4023-B078-8646F99D1D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76145E2-1FFF-406F-9CDC-BF13494585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EE2FB52-EC99-4FD5-8753-0F9071E385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FC2E5A3-B883-42A7-8C3A-9A77CA070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0844E23-7E45-4D2A-96DC-E73F4344A2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A54475B-A8C2-4CC7-B6BB-4386BF281F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8D39869-46F7-4960-9ED0-498CE5C7C0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E81220-79B2-4058-9FF7-B972447B8C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B0A702F-077A-495E-8809-9A2C5C454A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1700000000000001</c:v>
                </c:pt>
                <c:pt idx="1">
                  <c:v>6.4000000000000001E-2</c:v>
                </c:pt>
              </c:numCache>
            </c:numRef>
          </c:xVal>
          <c:yVal>
            <c:numRef>
              <c:f>Sheet1!$B$2:$B$3</c:f>
              <c:numCache>
                <c:formatCode>General</c:formatCode>
                <c:ptCount val="2"/>
                <c:pt idx="0">
                  <c:v>7625.1282051282042</c:v>
                </c:pt>
                <c:pt idx="1">
                  <c:v>6750.3125</c:v>
                </c:pt>
              </c:numCache>
            </c:numRef>
          </c:yVal>
          <c:bubbleSize>
            <c:numRef>
              <c:f>Sheet1!$C$2:$C$3</c:f>
              <c:numCache>
                <c:formatCode>General</c:formatCode>
                <c:ptCount val="2"/>
                <c:pt idx="0">
                  <c:v>56493.237800000003</c:v>
                </c:pt>
                <c:pt idx="1">
                  <c:v>28272.3696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0E142E-EA16-4286-B27A-E8927E15BD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A4A43CE-13FC-4A49-BD88-543DAB5CD2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346402D-2F2E-4E03-984D-77E73AA65A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B0E0046-2125-4A55-8F30-3CFCB95AA0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D6FD57E-8EFC-4353-A402-8AA6E5092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0D57BF4-14A9-46EE-90B0-8EBE3451B8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BBED51A-8618-44C2-B2E6-200E992803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B760B62-715B-4A6F-9008-9E6A1835EA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009D3FD-4EB6-4208-9F85-0312CBB3C2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08E0C13-8611-48E5-B964-4A53D97F55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4</c:v>
                </c:pt>
                <c:pt idx="1">
                  <c:v>0.79</c:v>
                </c:pt>
                <c:pt idx="2">
                  <c:v>0.83</c:v>
                </c:pt>
                <c:pt idx="3">
                  <c:v>0.31</c:v>
                </c:pt>
                <c:pt idx="4">
                  <c:v>0.05</c:v>
                </c:pt>
                <c:pt idx="5">
                  <c:v>0.04</c:v>
                </c:pt>
              </c:numCache>
            </c:numRef>
          </c:xVal>
          <c:yVal>
            <c:numRef>
              <c:f>Sheet1!$B$2:$B$7</c:f>
              <c:numCache>
                <c:formatCode>General</c:formatCode>
                <c:ptCount val="6"/>
                <c:pt idx="0">
                  <c:v>1094.75</c:v>
                </c:pt>
                <c:pt idx="1">
                  <c:v>4560.0253164556962</c:v>
                </c:pt>
                <c:pt idx="2">
                  <c:v>3435.0481927710839</c:v>
                </c:pt>
                <c:pt idx="3">
                  <c:v>5275.4193548387093</c:v>
                </c:pt>
                <c:pt idx="4">
                  <c:v>999.2</c:v>
                </c:pt>
                <c:pt idx="5">
                  <c:v>1055.75</c:v>
                </c:pt>
              </c:numCache>
            </c:numRef>
          </c:yVal>
          <c:bubbleSize>
            <c:numRef>
              <c:f>Sheet1!$C$2:$C$7</c:f>
              <c:numCache>
                <c:formatCode>General</c:formatCode>
                <c:ptCount val="6"/>
                <c:pt idx="0">
                  <c:v>3101.6833000000001</c:v>
                </c:pt>
                <c:pt idx="1">
                  <c:v>244698.5876</c:v>
                </c:pt>
                <c:pt idx="2">
                  <c:v>173389.4657</c:v>
                </c:pt>
                <c:pt idx="3">
                  <c:v>127660.91680000001</c:v>
                </c:pt>
                <c:pt idx="4">
                  <c:v>3205.0187999999998</c:v>
                </c:pt>
                <c:pt idx="5">
                  <c:v>3367.1781000000001</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6CT</c:v>
                  </c:pt>
                  <c:pt idx="2">
                    <c:v>HYDRO 5 SENSITIVE 5 BLADE RAZOR SENSITIVE 3CT</c:v>
                  </c:pt>
                  <c:pt idx="3">
                    <c:v>HYDRO 5 SENSITIVE 5 BLADE REFILL SENSITIVE 12CT</c:v>
                  </c:pt>
                  <c:pt idx="4">
                    <c:v>SCHICK HYDRO 3 SENSITIVE 3 BLADE RAZOR SENSITIVE 4CT</c:v>
                  </c:pt>
                  <c:pt idx="5">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0AB8A3F-D036-4F3C-BB3B-5C844131CA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03E2478-0B50-434A-92D7-919FAFD3A0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E03A3D8-5FA3-4D0E-97FF-FEA34976CD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EE62D97-E9F1-4AFC-9308-4BADD86FDE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6E8ED9D-D97A-46AB-A80E-CC96283FE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6CD8FD8-57F2-4678-A28D-38212A98B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326652F-3A47-4A1C-A429-BE9EB0C064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8671214-6184-4892-A72F-66CC3C90F3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1A7D33-9F85-4E1D-BB10-A5D71D1709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A828912-6025-4C42-94E7-8B44ADDF17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67</c:v>
                </c:pt>
                <c:pt idx="1">
                  <c:v>0.7</c:v>
                </c:pt>
                <c:pt idx="2">
                  <c:v>0.83</c:v>
                </c:pt>
                <c:pt idx="3">
                  <c:v>0.54</c:v>
                </c:pt>
              </c:numCache>
            </c:numRef>
          </c:xVal>
          <c:yVal>
            <c:numRef>
              <c:f>Sheet1!$B$2:$B$5</c:f>
              <c:numCache>
                <c:formatCode>General</c:formatCode>
                <c:ptCount val="4"/>
                <c:pt idx="0">
                  <c:v>745.05970149253733</c:v>
                </c:pt>
                <c:pt idx="1">
                  <c:v>2192.542857142857</c:v>
                </c:pt>
                <c:pt idx="2">
                  <c:v>3421.4096385542171</c:v>
                </c:pt>
                <c:pt idx="3">
                  <c:v>2624.6851851851852</c:v>
                </c:pt>
              </c:numCache>
            </c:numRef>
          </c:yVal>
          <c:bubbleSize>
            <c:numRef>
              <c:f>Sheet1!$C$2:$C$5</c:f>
              <c:numCache>
                <c:formatCode>General</c:formatCode>
                <c:ptCount val="4"/>
                <c:pt idx="0">
                  <c:v>30082.322400000001</c:v>
                </c:pt>
                <c:pt idx="1">
                  <c:v>78650.092899999989</c:v>
                </c:pt>
                <c:pt idx="2">
                  <c:v>162101.8536</c:v>
                </c:pt>
                <c:pt idx="3">
                  <c:v>85603.147899999982</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0553C6-58AF-42C8-B2E0-860B05F8DD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0808A7F-D3FF-4EAF-A1FB-92C8DD85EE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2DFD0E-A851-4C6A-ABFE-EA41BB938E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FD7C2D7-47AE-4FA8-BDE3-F966990AE3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2E2F62A-607C-4FDC-9A87-F09AA8C92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F861ED4-C5FA-4215-A152-0616906BB5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B3ACEBC-B9C7-4BE7-8D2D-9897FFFBAC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B750DF-487E-4D18-ACBF-C3221A0E5F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7C7750-4965-487B-B19D-A10FB8E759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13EA8F-DB34-4747-A143-398E8F2157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34E0822-432A-460D-A126-C14D81253D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EE738BA-2975-49D4-94A2-995F24B7E5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45C29F3-145D-4E8C-9245-58A6664AFD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484EFC1-6DE7-417A-9AC4-E4B3A5E8BA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811F414-7E50-4990-AF96-4B20C239C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75D6B41-F391-44EE-9809-666C41A545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1615474-A443-43DB-B92D-C7791FCF0C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494DDB-AF94-46DA-9493-4E384A9E50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4B27C9C-1763-49F8-ADD6-FBF4957817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6D233B1-A272-4131-9EBD-29300A3DCB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1</c:v>
                </c:pt>
                <c:pt idx="1">
                  <c:v>0.56000000000000005</c:v>
                </c:pt>
                <c:pt idx="2">
                  <c:v>0.61</c:v>
                </c:pt>
              </c:numCache>
            </c:numRef>
          </c:xVal>
          <c:yVal>
            <c:numRef>
              <c:f>Sheet1!$B$2:$B$4</c:f>
              <c:numCache>
                <c:formatCode>General</c:formatCode>
                <c:ptCount val="3"/>
                <c:pt idx="0">
                  <c:v>839</c:v>
                </c:pt>
                <c:pt idx="1">
                  <c:v>7307.5535714285706</c:v>
                </c:pt>
                <c:pt idx="2">
                  <c:v>4743.377049180328</c:v>
                </c:pt>
              </c:numCache>
            </c:numRef>
          </c:yVal>
          <c:bubbleSize>
            <c:numRef>
              <c:f>Sheet1!$C$2:$C$4</c:f>
              <c:numCache>
                <c:formatCode>General</c:formatCode>
                <c:ptCount val="3"/>
                <c:pt idx="0">
                  <c:v>1341.184</c:v>
                </c:pt>
                <c:pt idx="1">
                  <c:v>278077.10879999999</c:v>
                </c:pt>
                <c:pt idx="2">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01994776515</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5B2E6C2-04B4-4D0F-8EE0-EC2B385819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C0C9F3C-C5B8-4B1C-937D-FF63AA010E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4546205-21A1-45D4-B73D-BE693C43F8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A8D5911-96D1-4299-9F4F-7D0C6C977A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907298B-4CDA-4D8C-9FC6-BB39AF72A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8277AE-4758-4710-A5D5-304E587D18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7BBEB9-EEA2-42F3-8A91-17E2E60931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4DA56AA-5D1B-429C-B29E-382FE18A8F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951B96-AC10-4914-8CC5-624BA3069A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CBAD7E1-6890-484D-B32A-D121A6B8A1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41</c:v>
                </c:pt>
                <c:pt idx="1">
                  <c:v>0.53</c:v>
                </c:pt>
                <c:pt idx="2">
                  <c:v>0.65</c:v>
                </c:pt>
                <c:pt idx="3">
                  <c:v>0.4</c:v>
                </c:pt>
              </c:numCache>
            </c:numRef>
          </c:xVal>
          <c:yVal>
            <c:numRef>
              <c:f>Sheet1!$B$2:$B$5</c:f>
              <c:numCache>
                <c:formatCode>General</c:formatCode>
                <c:ptCount val="4"/>
                <c:pt idx="0">
                  <c:v>1148.3170731707321</c:v>
                </c:pt>
                <c:pt idx="1">
                  <c:v>3302.6981132075471</c:v>
                </c:pt>
                <c:pt idx="2">
                  <c:v>4936.0153846153844</c:v>
                </c:pt>
                <c:pt idx="3">
                  <c:v>3361.8</c:v>
                </c:pt>
              </c:numCache>
            </c:numRef>
          </c:yVal>
          <c:bubbleSize>
            <c:numRef>
              <c:f>Sheet1!$C$2:$C$5</c:f>
              <c:numCache>
                <c:formatCode>General</c:formatCode>
                <c:ptCount val="4"/>
                <c:pt idx="0">
                  <c:v>28301.748800000001</c:v>
                </c:pt>
                <c:pt idx="1">
                  <c:v>89489.170400000003</c:v>
                </c:pt>
                <c:pt idx="2">
                  <c:v>182797.47649999999</c:v>
                </c:pt>
                <c:pt idx="3">
                  <c:v>86297.400300000008</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9492C48-3F48-48F8-A5C7-A420862DF5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3022B6-2A3A-4324-89DB-8CF92E636B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3E40F26-557A-451C-B60C-C48BAF1C88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2A5F137-1DC4-4EEC-A0D8-35461A1CD7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A9684C9-F114-427D-9302-B9DCC9728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A855EEB-1EFC-43E8-B3E5-77B3EAF30E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F404095-7DA4-4FEC-8D6A-1097EA61FA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CBA0D4-7593-430F-8F70-818C6FC6FD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1E89D10-A33E-4E26-AC0B-26F76907E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352A89-6F90-4AFC-BF8D-164A45BD29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1</c:v>
                </c:pt>
                <c:pt idx="1">
                  <c:v>0.01</c:v>
                </c:pt>
                <c:pt idx="2">
                  <c:v>0.8</c:v>
                </c:pt>
                <c:pt idx="3">
                  <c:v>0.87</c:v>
                </c:pt>
                <c:pt idx="4">
                  <c:v>0.49</c:v>
                </c:pt>
                <c:pt idx="5">
                  <c:v>0.06</c:v>
                </c:pt>
                <c:pt idx="6">
                  <c:v>0.05</c:v>
                </c:pt>
              </c:numCache>
            </c:numRef>
          </c:xVal>
          <c:yVal>
            <c:numRef>
              <c:f>Sheet1!$B$2:$B$8</c:f>
              <c:numCache>
                <c:formatCode>General</c:formatCode>
                <c:ptCount val="7"/>
                <c:pt idx="0">
                  <c:v>14923.912087912089</c:v>
                </c:pt>
                <c:pt idx="1">
                  <c:v>4359</c:v>
                </c:pt>
                <c:pt idx="2">
                  <c:v>57541.387499999997</c:v>
                </c:pt>
                <c:pt idx="3">
                  <c:v>41378.275862068956</c:v>
                </c:pt>
                <c:pt idx="4">
                  <c:v>66122.918367346938</c:v>
                </c:pt>
                <c:pt idx="5">
                  <c:v>19149.166666666672</c:v>
                </c:pt>
                <c:pt idx="6">
                  <c:v>19381.2</c:v>
                </c:pt>
              </c:numCache>
            </c:numRef>
          </c:yVal>
          <c:bubbleSize>
            <c:numRef>
              <c:f>Sheet1!$C$2:$C$8</c:f>
              <c:numCache>
                <c:formatCode>General</c:formatCode>
                <c:ptCount val="7"/>
                <c:pt idx="0">
                  <c:v>1055523.5941999999</c:v>
                </c:pt>
                <c:pt idx="1">
                  <c:v>6169.4463999999998</c:v>
                </c:pt>
                <c:pt idx="2">
                  <c:v>3125406.0482000001</c:v>
                </c:pt>
                <c:pt idx="3">
                  <c:v>2189444.7601999999</c:v>
                </c:pt>
                <c:pt idx="4">
                  <c:v>2525616.0184999998</c:v>
                </c:pt>
                <c:pt idx="5">
                  <c:v>72621.147599999997</c:v>
                </c:pt>
                <c:pt idx="6">
                  <c:v>69360.267600000006</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EFILL SENSITIVE 4CT</c:v>
                  </c:pt>
                  <c:pt idx="2">
                    <c:v>HYDRO 5 SENSITIVE 5 BLADE REFILL SENSITIVE 6CT</c:v>
                  </c:pt>
                  <c:pt idx="3">
                    <c:v>HYDRO 5 SENSITIVE 5 BLADE RAZOR SENSITIVE 3CT</c:v>
                  </c:pt>
                  <c:pt idx="4">
                    <c:v>HYDRO 5 SENSITIVE 5 BLADE REFILL SENSITIVE 12CT</c:v>
                  </c:pt>
                  <c:pt idx="5">
                    <c:v>SCHICK HYDRO 3 SENSITIVE 3 BLADE RAZOR SENSITIVE 4CT</c:v>
                  </c:pt>
                  <c:pt idx="6">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76CE1A6-BA8D-4481-8779-7F2F01BE10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DFDCFEB-1264-47CF-AF42-3F8825497C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77D2757-3CBE-4174-816D-189E1DC12A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7176727-02F8-4097-B56B-2048233C50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5C840D-D7D2-4518-861F-9997A3E28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2F5B1D7-2850-4B99-BFAC-697835F59A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CD7F84-4B61-4286-B924-F062DBD78C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B3B7D5C-745B-4DF5-80D5-596FB77403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2DF8A77-4078-4D8A-AACB-443205E5B8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19D747-9C21-4955-BC4F-6DD5135568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71</c:v>
                </c:pt>
                <c:pt idx="1">
                  <c:v>0.77</c:v>
                </c:pt>
                <c:pt idx="2">
                  <c:v>0.86</c:v>
                </c:pt>
                <c:pt idx="3">
                  <c:v>0.6</c:v>
                </c:pt>
              </c:numCache>
            </c:numRef>
          </c:xVal>
          <c:yVal>
            <c:numRef>
              <c:f>Sheet1!$B$2:$B$5</c:f>
              <c:numCache>
                <c:formatCode>General</c:formatCode>
                <c:ptCount val="4"/>
                <c:pt idx="0">
                  <c:v>8564.5633802816901</c:v>
                </c:pt>
                <c:pt idx="1">
                  <c:v>26568.493506493509</c:v>
                </c:pt>
                <c:pt idx="2">
                  <c:v>46244.011627906977</c:v>
                </c:pt>
                <c:pt idx="3">
                  <c:v>32905.133333333331</c:v>
                </c:pt>
              </c:numCache>
            </c:numRef>
          </c:yVal>
          <c:bubbleSize>
            <c:numRef>
              <c:f>Sheet1!$C$2:$C$5</c:f>
              <c:numCache>
                <c:formatCode>General</c:formatCode>
                <c:ptCount val="4"/>
                <c:pt idx="0">
                  <c:v>365615.01729999989</c:v>
                </c:pt>
                <c:pt idx="1">
                  <c:v>1046552.1158</c:v>
                </c:pt>
                <c:pt idx="2">
                  <c:v>2266539.6035000002</c:v>
                </c:pt>
                <c:pt idx="3">
                  <c:v>1171834.1069</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AZOR NORMAL 2CT</c:v>
                  </c:pt>
                  <c:pt idx="2">
                    <c:v>EQUATE EASY FIT 5 5 BLADE REFILL NORMAL 4CT</c:v>
                  </c:pt>
                  <c:pt idx="3">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C8D68B-77B2-406B-8FC9-83D76FF617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632E84F-6A8D-4456-BCEC-45B66BC58C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7D5A28C-4848-4717-8B68-AD730E8E47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BB13580-D733-444F-9ABB-A84A301D9F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B7CB681-5114-4A13-BCE3-759960FCF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F6831C3-9E67-425D-9B8C-4132CF0E12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249B1D5-1A57-4ECA-8584-91686ABD6F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5E44E1B-5C22-4A13-8BD2-BABB7FCD3D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677A5B8-76C7-424E-9E9E-3F9481E119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2BBA8A6-1FAB-4365-AB96-8FFE5BE994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3</c:v>
                </c:pt>
                <c:pt idx="1">
                  <c:v>7.0000000000000007E-2</c:v>
                </c:pt>
              </c:numCache>
            </c:numRef>
          </c:xVal>
          <c:yVal>
            <c:numRef>
              <c:f>Sheet1!$B$2:$B$3</c:f>
              <c:numCache>
                <c:formatCode>General</c:formatCode>
                <c:ptCount val="2"/>
                <c:pt idx="0">
                  <c:v>6680.8461538461543</c:v>
                </c:pt>
                <c:pt idx="1">
                  <c:v>5990.2857142857138</c:v>
                </c:pt>
              </c:numCache>
            </c:numRef>
          </c:yVal>
          <c:bubbleSize>
            <c:numRef>
              <c:f>Sheet1!$C$2:$C$3</c:f>
              <c:numCache>
                <c:formatCode>General</c:formatCode>
                <c:ptCount val="2"/>
                <c:pt idx="0">
                  <c:v>55007.155300000013</c:v>
                </c:pt>
                <c:pt idx="1">
                  <c:v>27404.931199999999</c:v>
                </c:pt>
              </c:numCache>
            </c:numRef>
          </c:bubbleSize>
          <c:bubble3D val="0"/>
          <c:extLst>
            <c:ext xmlns:c15="http://schemas.microsoft.com/office/drawing/2012/chart" uri="{02D57815-91ED-43cb-92C2-25804820EDAC}">
              <c15:datalabelsRange>
                <c15:f>Sheet1!$E$2:$E$21</c15:f>
                <c15:dlblRangeCache>
                  <c:ptCount val="20"/>
                  <c:pt idx="0">
                    <c:v>CREMO 5 BLADE RAZOR NORMAL 2CT</c:v>
                  </c:pt>
                  <c:pt idx="1">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0A5C78A-71E4-4CF0-A369-7B9D1894FF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A96EB3B-D2D7-4D03-9462-F24DAD57FA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0786B11-3F83-483F-8501-5CB0662CE0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9B1DEB0-6424-41DA-87D8-F4F72163D4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3F5A5C5-7905-40E0-A9AF-0456C9C29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29055FF-7199-411E-9010-8C8C67755E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626143A-AD31-440C-A96B-709468E541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3413B0F-600E-404B-8655-07B93C4D68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E47C3EC-7AA8-4A51-AE0C-BBFBC8FA61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CEFF88-5474-4DB8-984D-BF8A5CA3CA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75900000000000001</c:v>
                </c:pt>
                <c:pt idx="1">
                  <c:v>0.89600000000000002</c:v>
                </c:pt>
                <c:pt idx="2">
                  <c:v>0.93899999999999995</c:v>
                </c:pt>
                <c:pt idx="3">
                  <c:v>0.70099999999999996</c:v>
                </c:pt>
                <c:pt idx="4">
                  <c:v>0.63400000000000001</c:v>
                </c:pt>
                <c:pt idx="5">
                  <c:v>0.95</c:v>
                </c:pt>
                <c:pt idx="6">
                  <c:v>0.84399999999999997</c:v>
                </c:pt>
                <c:pt idx="7">
                  <c:v>0.85699999999999998</c:v>
                </c:pt>
              </c:numCache>
            </c:numRef>
          </c:xVal>
          <c:yVal>
            <c:numRef>
              <c:f>Sheet1!$B$2:$B$9</c:f>
              <c:numCache>
                <c:formatCode>General</c:formatCode>
                <c:ptCount val="8"/>
                <c:pt idx="0">
                  <c:v>14944.044795783921</c:v>
                </c:pt>
                <c:pt idx="1">
                  <c:v>6009.7767857142853</c:v>
                </c:pt>
                <c:pt idx="2">
                  <c:v>52579.062832800853</c:v>
                </c:pt>
                <c:pt idx="3">
                  <c:v>42879.101283880183</c:v>
                </c:pt>
                <c:pt idx="4">
                  <c:v>7261.4353312302837</c:v>
                </c:pt>
                <c:pt idx="5">
                  <c:v>42642.536842105263</c:v>
                </c:pt>
                <c:pt idx="6">
                  <c:v>6803.5545023696686</c:v>
                </c:pt>
                <c:pt idx="7">
                  <c:v>51342.777129521593</c:v>
                </c:pt>
              </c:numCache>
            </c:numRef>
          </c:yVal>
          <c:bubbleSize>
            <c:numRef>
              <c:f>Sheet1!$C$2:$C$9</c:f>
              <c:numCache>
                <c:formatCode>General</c:formatCode>
                <c:ptCount val="8"/>
                <c:pt idx="0">
                  <c:v>838701.68579999998</c:v>
                </c:pt>
                <c:pt idx="1">
                  <c:v>350237.70730000013</c:v>
                </c:pt>
                <c:pt idx="2">
                  <c:v>3200726.89</c:v>
                </c:pt>
                <c:pt idx="3">
                  <c:v>1920827.2086</c:v>
                </c:pt>
                <c:pt idx="4">
                  <c:v>301018.2378</c:v>
                </c:pt>
                <c:pt idx="5">
                  <c:v>2551270.2801999999</c:v>
                </c:pt>
                <c:pt idx="6">
                  <c:v>390839.13900000002</c:v>
                </c:pt>
                <c:pt idx="7">
                  <c:v>3101731.2096000011</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28A632D-41DE-4D64-B179-DA9FA5620A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2A27A82-802D-47BB-9EA5-1BAE6B77D5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B9543FE-0720-4479-A7F9-833596A5B0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6C8A60F-1803-4AFA-A20D-17C5A2C133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B683E4-11A7-483D-9165-72F030FCB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8C95062-8E33-4CE4-A914-BF4EFEC6BF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C349BF6-5F67-41E1-9462-A952DB5BF3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EB61A2A-5AFB-47C5-B1E2-015C022DEF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61D571-1714-4FD9-8D9A-62A1748BF1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4E923D0-A0F6-4355-ABBB-C69E40AC2F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3799999999999994</c:v>
                </c:pt>
                <c:pt idx="1">
                  <c:v>0.98499999999999999</c:v>
                </c:pt>
                <c:pt idx="2">
                  <c:v>0.95899999999999996</c:v>
                </c:pt>
                <c:pt idx="3">
                  <c:v>0.91100000000000003</c:v>
                </c:pt>
                <c:pt idx="4">
                  <c:v>0.97799999999999998</c:v>
                </c:pt>
                <c:pt idx="5">
                  <c:v>0.98799999999999999</c:v>
                </c:pt>
              </c:numCache>
            </c:numRef>
          </c:xVal>
          <c:yVal>
            <c:numRef>
              <c:f>Sheet1!$B$2:$B$7</c:f>
              <c:numCache>
                <c:formatCode>General</c:formatCode>
                <c:ptCount val="6"/>
                <c:pt idx="0">
                  <c:v>34693.635394456287</c:v>
                </c:pt>
                <c:pt idx="1">
                  <c:v>88856.375634517768</c:v>
                </c:pt>
                <c:pt idx="2">
                  <c:v>37190.417101147032</c:v>
                </c:pt>
                <c:pt idx="3">
                  <c:v>39700.241492864981</c:v>
                </c:pt>
                <c:pt idx="4">
                  <c:v>17923.486707566459</c:v>
                </c:pt>
                <c:pt idx="5">
                  <c:v>38983.218623481793</c:v>
                </c:pt>
              </c:numCache>
            </c:numRef>
          </c:yVal>
          <c:bubbleSize>
            <c:numRef>
              <c:f>Sheet1!$C$2:$C$7</c:f>
              <c:numCache>
                <c:formatCode>General</c:formatCode>
                <c:ptCount val="6"/>
                <c:pt idx="0">
                  <c:v>1798622.3696000001</c:v>
                </c:pt>
                <c:pt idx="1">
                  <c:v>4518773.5040000007</c:v>
                </c:pt>
                <c:pt idx="2">
                  <c:v>1614221.3448999999</c:v>
                </c:pt>
                <c:pt idx="3">
                  <c:v>1997336.7135999999</c:v>
                </c:pt>
                <c:pt idx="4">
                  <c:v>1228819.4014000001</c:v>
                </c:pt>
                <c:pt idx="5">
                  <c:v>2298580.1269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D10A8EB-1613-4F69-99F3-1CF017E4E7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A161A43-E777-433E-BF77-DEAFA904DF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744C9C-4EC2-4C16-9C86-5D5CDFA309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26AFCF9-2827-4F25-B064-D16E2D7AAF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91E0FFD-92A9-459A-8926-E07B8749B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E1C85A9-46F8-4439-82F8-F2F922E7AC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5D8537-50E8-4A40-B324-884582FCFC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3088E8F-F14B-45B7-9922-DA39C6B564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0B9DB72-507B-4075-B888-E13DD3D154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C108474-79E1-4A53-8BC2-E87E305FA8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04</c:v>
                </c:pt>
                <c:pt idx="1">
                  <c:v>0.88</c:v>
                </c:pt>
                <c:pt idx="2">
                  <c:v>0.94</c:v>
                </c:pt>
                <c:pt idx="3">
                  <c:v>0.68</c:v>
                </c:pt>
                <c:pt idx="4">
                  <c:v>0.64</c:v>
                </c:pt>
                <c:pt idx="5">
                  <c:v>0.95</c:v>
                </c:pt>
                <c:pt idx="6">
                  <c:v>0.84</c:v>
                </c:pt>
                <c:pt idx="7">
                  <c:v>0.87</c:v>
                </c:pt>
              </c:numCache>
            </c:numRef>
          </c:xVal>
          <c:yVal>
            <c:numRef>
              <c:f>Sheet1!$B$2:$B$9</c:f>
              <c:numCache>
                <c:formatCode>General</c:formatCode>
                <c:ptCount val="8"/>
                <c:pt idx="0">
                  <c:v>874</c:v>
                </c:pt>
                <c:pt idx="1">
                  <c:v>413.27272727272731</c:v>
                </c:pt>
                <c:pt idx="2">
                  <c:v>4372</c:v>
                </c:pt>
                <c:pt idx="3">
                  <c:v>3373.205882352941</c:v>
                </c:pt>
                <c:pt idx="4">
                  <c:v>574.65625</c:v>
                </c:pt>
                <c:pt idx="5">
                  <c:v>3032.8736842105259</c:v>
                </c:pt>
                <c:pt idx="6">
                  <c:v>506.07142857142861</c:v>
                </c:pt>
                <c:pt idx="7">
                  <c:v>3945.977011494253</c:v>
                </c:pt>
              </c:numCache>
            </c:numRef>
          </c:yVal>
          <c:bubbleSize>
            <c:numRef>
              <c:f>Sheet1!$C$2:$C$9</c:f>
              <c:numCache>
                <c:formatCode>General</c:formatCode>
                <c:ptCount val="8"/>
                <c:pt idx="0">
                  <c:v>2412.9196000000002</c:v>
                </c:pt>
                <c:pt idx="1">
                  <c:v>23392.570500000002</c:v>
                </c:pt>
                <c:pt idx="2">
                  <c:v>263862.60159999999</c:v>
                </c:pt>
                <c:pt idx="3">
                  <c:v>144963.85519999999</c:v>
                </c:pt>
                <c:pt idx="4">
                  <c:v>23760.718799999999</c:v>
                </c:pt>
                <c:pt idx="5">
                  <c:v>180016.2997</c:v>
                </c:pt>
                <c:pt idx="6">
                  <c:v>28611.328399999999</c:v>
                </c:pt>
                <c:pt idx="7">
                  <c:v>239980.5024</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45DDD6-0A77-433D-ADA3-36D2152BD6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C1C8A72-7E08-4A7E-BDC7-A2E0947C78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7F9C443-F754-4FB6-BD97-93A489579A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4C08AA6-E668-449F-BD94-1C770A8EC9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7C060E-F080-4E6A-8DBE-B51CD5A3F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ABEC7C7-102C-42A0-BB97-11F46D0AA9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252BE79-7829-4999-A9A1-2FD34EB10C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D46D1C3-9F9B-412C-BF11-CF733D69E3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5A641A-A9A6-4F84-83CB-1054EAB171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13ACC82-ACE9-48C4-95C6-9271A5AC01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5</c:v>
                </c:pt>
                <c:pt idx="1">
                  <c:v>0.98</c:v>
                </c:pt>
                <c:pt idx="2">
                  <c:v>0.94</c:v>
                </c:pt>
                <c:pt idx="3">
                  <c:v>0.9</c:v>
                </c:pt>
                <c:pt idx="4">
                  <c:v>0.97</c:v>
                </c:pt>
                <c:pt idx="5">
                  <c:v>0.99</c:v>
                </c:pt>
              </c:numCache>
            </c:numRef>
          </c:xVal>
          <c:yVal>
            <c:numRef>
              <c:f>Sheet1!$B$2:$B$7</c:f>
              <c:numCache>
                <c:formatCode>General</c:formatCode>
                <c:ptCount val="6"/>
                <c:pt idx="0">
                  <c:v>2490.9578947368418</c:v>
                </c:pt>
                <c:pt idx="1">
                  <c:v>6191.2653061224491</c:v>
                </c:pt>
                <c:pt idx="2">
                  <c:v>2380.0744680851062</c:v>
                </c:pt>
                <c:pt idx="3">
                  <c:v>2854.1777777777779</c:v>
                </c:pt>
                <c:pt idx="4">
                  <c:v>1268.855670103093</c:v>
                </c:pt>
                <c:pt idx="5">
                  <c:v>3147.9191919191921</c:v>
                </c:pt>
              </c:numCache>
            </c:numRef>
          </c:yVal>
          <c:bubbleSize>
            <c:numRef>
              <c:f>Sheet1!$C$2:$C$7</c:f>
              <c:numCache>
                <c:formatCode>General</c:formatCode>
                <c:ptCount val="6"/>
                <c:pt idx="0">
                  <c:v>129385.6139</c:v>
                </c:pt>
                <c:pt idx="1">
                  <c:v>310226.51689999999</c:v>
                </c:pt>
                <c:pt idx="2">
                  <c:v>100468.05989999999</c:v>
                </c:pt>
                <c:pt idx="3">
                  <c:v>141820.57579999999</c:v>
                </c:pt>
                <c:pt idx="4">
                  <c:v>85078.340200000021</c:v>
                </c:pt>
                <c:pt idx="5">
                  <c:v>185958.4334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A3BA7D9-1F00-46ED-A29F-6803707D42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0DE9C8A-6676-4BDD-89A7-186929D59E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2A7E898-145B-4BDC-93FC-6DCB35C93F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38F7E01-85EE-4843-BE50-219BB6643F1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83414D4-D6AE-4F40-BF2D-17935D359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D71CE38-7CFE-4B09-B6C5-A684A8A27A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D5FD38-5985-4FB0-B6D6-C699ADDF9E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FAA4B74-03AC-4038-8DA6-E538FFBFC6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7339FFA-6955-4915-93A4-82E871629B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A61E0BE-48D2-4637-AAEA-0E863F2604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1</c:v>
                </c:pt>
                <c:pt idx="1">
                  <c:v>0.77</c:v>
                </c:pt>
                <c:pt idx="2">
                  <c:v>0.3</c:v>
                </c:pt>
                <c:pt idx="3">
                  <c:v>0.24</c:v>
                </c:pt>
                <c:pt idx="4">
                  <c:v>0.81</c:v>
                </c:pt>
                <c:pt idx="5">
                  <c:v>0.61</c:v>
                </c:pt>
                <c:pt idx="6">
                  <c:v>0.65</c:v>
                </c:pt>
              </c:numCache>
            </c:numRef>
          </c:xVal>
          <c:yVal>
            <c:numRef>
              <c:f>Sheet1!$B$2:$B$8</c:f>
              <c:numCache>
                <c:formatCode>General</c:formatCode>
                <c:ptCount val="7"/>
                <c:pt idx="0">
                  <c:v>536.43661971830988</c:v>
                </c:pt>
                <c:pt idx="1">
                  <c:v>4400.727272727273</c:v>
                </c:pt>
                <c:pt idx="2">
                  <c:v>4859.9333333333334</c:v>
                </c:pt>
                <c:pt idx="3">
                  <c:v>743.54166666666663</c:v>
                </c:pt>
                <c:pt idx="4">
                  <c:v>3557.6049382716051</c:v>
                </c:pt>
                <c:pt idx="5">
                  <c:v>609.59016393442619</c:v>
                </c:pt>
                <c:pt idx="6">
                  <c:v>5031.3076923076924</c:v>
                </c:pt>
              </c:numCache>
            </c:numRef>
          </c:yVal>
          <c:bubbleSize>
            <c:numRef>
              <c:f>Sheet1!$C$2:$C$8</c:f>
              <c:numCache>
                <c:formatCode>General</c:formatCode>
                <c:ptCount val="7"/>
                <c:pt idx="0">
                  <c:v>24732.3076</c:v>
                </c:pt>
                <c:pt idx="1">
                  <c:v>219178.04300000001</c:v>
                </c:pt>
                <c:pt idx="2">
                  <c:v>93532.547699999996</c:v>
                </c:pt>
                <c:pt idx="3">
                  <c:v>11674.0008</c:v>
                </c:pt>
                <c:pt idx="4">
                  <c:v>181395.77009999999</c:v>
                </c:pt>
                <c:pt idx="5">
                  <c:v>25231.624599999999</c:v>
                </c:pt>
                <c:pt idx="6">
                  <c:v>230309.52960000001</c:v>
                </c:pt>
              </c:numCache>
            </c:numRef>
          </c:bubbleSize>
          <c:bubble3D val="0"/>
          <c:extLst>
            <c:ext xmlns:c15="http://schemas.microsoft.com/office/drawing/2012/chart" uri="{02D57815-91ED-43cb-92C2-25804820EDAC}">
              <c15:datalabelsRange>
                <c15:f>Sheet1!$E$2:$E$21</c15:f>
                <c15:dlblRangeCache>
                  <c:ptCount val="20"/>
                  <c:pt idx="0">
                    <c:v>SCHICK XTREME 3 SENSITIVE GREEN BLACK 3 BLADE DISPOSABLE SENSITIVE 4CT</c:v>
                  </c:pt>
                  <c:pt idx="1">
                    <c:v>SCHICK XTREME 2 SENSITIVE 2 BLADE DISPOSABLE NORMAL 12CT</c:v>
                  </c:pt>
                  <c:pt idx="2">
                    <c:v>SCHICK XTREME 3 SENSITIVE BLACK GREEN 3 BLADE DISPOSABLE SENSITIVE 12CT</c:v>
                  </c:pt>
                  <c:pt idx="3">
                    <c:v>SCHICK XTREME 3 SENSITIVE GREEN BLACK 3 BLADE DISPOSABLE SENSITIVE 12CT</c:v>
                  </c:pt>
                  <c:pt idx="4">
                    <c:v>SCHICK XTREME 3 SENSITIVE BLACK 3 BLADE DISPOSABLE SENSITIVE 4CT</c:v>
                  </c:pt>
                  <c:pt idx="5">
                    <c:v>SCHICK XTREME 3 SENSITIVE GREEN BLACK 3 BLADE DISPOSABLE SENSITIVE 8CT</c:v>
                  </c:pt>
                  <c:pt idx="6">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D9A55F1-5E72-4E92-AB25-5E647276CB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8D70C4-78B5-464B-9BAD-24573BEBB4C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021E9E3-E032-4EF4-8CB7-6EA7A7B23A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CF1DA77-F257-4CD3-B33F-84B17ED24B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DB7528E-B89A-4A3E-8D26-45B1E6F49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285F1C1-C2F8-4222-AE29-42E729E69E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F823002-3B01-470E-B651-28CB65E126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EDF96C-3D18-49E4-B4B8-0D8B6D3EBF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CFDC98D-045F-42D9-B764-0A5B7B45D7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2880C49-2081-4595-888D-C972565BEB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74</c:v>
                </c:pt>
                <c:pt idx="1">
                  <c:v>0.91</c:v>
                </c:pt>
                <c:pt idx="2">
                  <c:v>0.82</c:v>
                </c:pt>
                <c:pt idx="3">
                  <c:v>0.65</c:v>
                </c:pt>
                <c:pt idx="4">
                  <c:v>0.95</c:v>
                </c:pt>
                <c:pt idx="5">
                  <c:v>0.95</c:v>
                </c:pt>
              </c:numCache>
            </c:numRef>
          </c:xVal>
          <c:yVal>
            <c:numRef>
              <c:f>Sheet1!$B$2:$B$7</c:f>
              <c:numCache>
                <c:formatCode>General</c:formatCode>
                <c:ptCount val="6"/>
                <c:pt idx="0">
                  <c:v>2923.9189189189192</c:v>
                </c:pt>
                <c:pt idx="1">
                  <c:v>5807.0109890109889</c:v>
                </c:pt>
                <c:pt idx="2">
                  <c:v>2862.6341463414628</c:v>
                </c:pt>
                <c:pt idx="3">
                  <c:v>3479.353846153846</c:v>
                </c:pt>
                <c:pt idx="4">
                  <c:v>1727.1789473684209</c:v>
                </c:pt>
                <c:pt idx="5">
                  <c:v>3081.3052631578948</c:v>
                </c:pt>
              </c:numCache>
            </c:numRef>
          </c:yVal>
          <c:bubbleSize>
            <c:numRef>
              <c:f>Sheet1!$C$2:$C$7</c:f>
              <c:numCache>
                <c:formatCode>General</c:formatCode>
                <c:ptCount val="6"/>
                <c:pt idx="0">
                  <c:v>119428.2879</c:v>
                </c:pt>
                <c:pt idx="1">
                  <c:v>272475.62770000001</c:v>
                </c:pt>
                <c:pt idx="2">
                  <c:v>106130.8149</c:v>
                </c:pt>
                <c:pt idx="3">
                  <c:v>125001.96189999999</c:v>
                </c:pt>
                <c:pt idx="4">
                  <c:v>114348.9244</c:v>
                </c:pt>
                <c:pt idx="5">
                  <c:v>174687.43780000001</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B$2:$B$9</c:f>
              <c:numCache>
                <c:formatCode>General</c:formatCode>
                <c:ptCount val="8"/>
                <c:pt idx="0">
                  <c:v>0.65871033624482334</c:v>
                </c:pt>
                <c:pt idx="1">
                  <c:v>0.21478330524000885</c:v>
                </c:pt>
                <c:pt idx="2">
                  <c:v>4.1854895900275232E-2</c:v>
                </c:pt>
                <c:pt idx="3">
                  <c:v>3.7673563884695019E-2</c:v>
                </c:pt>
                <c:pt idx="4">
                  <c:v>3.2889977513461635E-2</c:v>
                </c:pt>
                <c:pt idx="5">
                  <c:v>1.3991703065241055E-2</c:v>
                </c:pt>
                <c:pt idx="6">
                  <c:v>9.5188656869837438E-5</c:v>
                </c:pt>
                <c:pt idx="7">
                  <c:v>1.029494625048158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C$2:$C$9</c:f>
              <c:numCache>
                <c:formatCode>General</c:formatCode>
                <c:ptCount val="8"/>
                <c:pt idx="0">
                  <c:v>0.56864864864864884</c:v>
                </c:pt>
                <c:pt idx="1">
                  <c:v>0.14216216216216215</c:v>
                </c:pt>
                <c:pt idx="2">
                  <c:v>6.2162162162162173E-2</c:v>
                </c:pt>
                <c:pt idx="3">
                  <c:v>0.11027027027027027</c:v>
                </c:pt>
                <c:pt idx="4">
                  <c:v>7.1351351351351344E-2</c:v>
                </c:pt>
                <c:pt idx="5">
                  <c:v>4.3243243243243246E-2</c:v>
                </c:pt>
                <c:pt idx="6">
                  <c:v>2.162162162162162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Equate</c:v>
                </c:pt>
                <c:pt idx="4">
                  <c:v>Dollar Shave Club</c:v>
                </c:pt>
                <c:pt idx="5">
                  <c:v>Van Der Hagen</c:v>
                </c:pt>
                <c:pt idx="6">
                  <c:v>Cremo</c:v>
                </c:pt>
                <c:pt idx="7">
                  <c:v>Others</c:v>
                </c:pt>
              </c:strCache>
            </c:strRef>
          </c:cat>
          <c:val>
            <c:numRef>
              <c:f>Sheet1!$D$2:$D$9</c:f>
              <c:numCache>
                <c:formatCode>General</c:formatCode>
                <c:ptCount val="8"/>
                <c:pt idx="0">
                  <c:v>0.86327573344362818</c:v>
                </c:pt>
                <c:pt idx="1">
                  <c:v>0.66188646274580576</c:v>
                </c:pt>
                <c:pt idx="2">
                  <c:v>1.4851825772132288</c:v>
                </c:pt>
                <c:pt idx="3">
                  <c:v>2.9269933316573709</c:v>
                </c:pt>
                <c:pt idx="4">
                  <c:v>2.1693949569332402</c:v>
                </c:pt>
                <c:pt idx="5">
                  <c:v>3.0906347169895598</c:v>
                </c:pt>
                <c:pt idx="6">
                  <c:v>22.714493861582046</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2BE34A-A5D2-45C9-8DE2-ADC8E6D960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6355DB0-E59E-4E42-8B81-5E5B5B7420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AFA86AB-8CD3-46C8-94E2-D22DF02338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67DCFD3-4330-445E-A301-1967B2FF3E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3BBE55-9878-45F9-B575-0453081E1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CC6CE78-6496-4D79-8A0E-821A9B5BE1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DD538B9-282D-4BB9-BF22-6E1B7400BA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D98081-4F3C-4E4F-AB3F-20B5BB4B56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DA1A8E-ECFF-4D2C-A340-75828A0936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0DFE8C9-EBA9-4104-B43D-5F1E49F15C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7</c:v>
                </c:pt>
                <c:pt idx="1">
                  <c:v>0.91</c:v>
                </c:pt>
                <c:pt idx="2">
                  <c:v>0.95</c:v>
                </c:pt>
                <c:pt idx="3">
                  <c:v>0.73</c:v>
                </c:pt>
                <c:pt idx="4">
                  <c:v>0.66</c:v>
                </c:pt>
                <c:pt idx="5">
                  <c:v>0.96</c:v>
                </c:pt>
                <c:pt idx="6">
                  <c:v>0.86</c:v>
                </c:pt>
                <c:pt idx="7">
                  <c:v>0.87</c:v>
                </c:pt>
              </c:numCache>
            </c:numRef>
          </c:xVal>
          <c:yVal>
            <c:numRef>
              <c:f>Sheet1!$B$2:$B$9</c:f>
              <c:numCache>
                <c:formatCode>General</c:formatCode>
                <c:ptCount val="8"/>
                <c:pt idx="0">
                  <c:v>12997.022988505751</c:v>
                </c:pt>
                <c:pt idx="1">
                  <c:v>5099.131868131868</c:v>
                </c:pt>
                <c:pt idx="2">
                  <c:v>44077.368421052633</c:v>
                </c:pt>
                <c:pt idx="3">
                  <c:v>36036.28767123288</c:v>
                </c:pt>
                <c:pt idx="4">
                  <c:v>6147.757575757576</c:v>
                </c:pt>
                <c:pt idx="5">
                  <c:v>36195.333333333343</c:v>
                </c:pt>
                <c:pt idx="6">
                  <c:v>5750.2906976744189</c:v>
                </c:pt>
                <c:pt idx="7">
                  <c:v>42870.586206896551</c:v>
                </c:pt>
              </c:numCache>
            </c:numRef>
          </c:yVal>
          <c:bubbleSize>
            <c:numRef>
              <c:f>Sheet1!$C$2:$C$9</c:f>
              <c:numCache>
                <c:formatCode>General</c:formatCode>
                <c:ptCount val="8"/>
                <c:pt idx="0">
                  <c:v>836275.50840000005</c:v>
                </c:pt>
                <c:pt idx="1">
                  <c:v>302112.82919999998</c:v>
                </c:pt>
                <c:pt idx="2">
                  <c:v>2717686.2453999999</c:v>
                </c:pt>
                <c:pt idx="3">
                  <c:v>1682330.8056999999</c:v>
                </c:pt>
                <c:pt idx="4">
                  <c:v>265583.51819999999</c:v>
                </c:pt>
                <c:pt idx="5">
                  <c:v>2189858.2104000002</c:v>
                </c:pt>
                <c:pt idx="6">
                  <c:v>336996.18599999999</c:v>
                </c:pt>
                <c:pt idx="7">
                  <c:v>2631441.1776000001</c:v>
                </c:pt>
              </c:numCache>
            </c:numRef>
          </c:bubbleSize>
          <c:bubble3D val="0"/>
          <c:extLst>
            <c:ext xmlns:c15="http://schemas.microsoft.com/office/drawing/2012/chart" uri="{02D57815-91ED-43cb-92C2-25804820EDAC}">
              <c15:datalabelsRange>
                <c15:f>Sheet1!$E$2:$E$21</c15:f>
                <c15:dlblRangeCache>
                  <c:ptCount val="20"/>
                  <c:pt idx="0">
                    <c:v>SCHICK XTREME 3 SENSITIVE GREEN HOLIDAY GIFT PACK 3 BLADE DISPOSABLE SENSITIVE 8CT</c:v>
                  </c:pt>
                  <c:pt idx="1">
                    <c:v>SCHICK XTREME 3 SENSITIVE GREEN BLACK 3 BLADE DISPOSABLE SENSITIVE 4CT</c:v>
                  </c:pt>
                  <c:pt idx="2">
                    <c:v>SCHICK XTREME 2 SENSITIVE 2 BLADE DISPOSABLE NORMAL 12CT</c:v>
                  </c:pt>
                  <c:pt idx="3">
                    <c:v>SCHICK XTREME 3 SENSITIVE BLACK GREEN 3 BLADE DISPOSABLE SENSITIVE 12CT</c:v>
                  </c:pt>
                  <c:pt idx="4">
                    <c:v>SCHICK XTREME 3 SENSITIVE GREEN BLACK 3 BLADE DISPOSABLE SENSITIVE 12CT</c:v>
                  </c:pt>
                  <c:pt idx="5">
                    <c:v>SCHICK XTREME 3 SENSITIVE BLACK 3 BLADE DISPOSABLE SENSITIVE 4CT</c:v>
                  </c:pt>
                  <c:pt idx="6">
                    <c:v>SCHICK XTREME 3 SENSITIVE GREEN BLACK 3 BLADE DISPOSABLE SENSITIVE 8CT</c:v>
                  </c:pt>
                  <c:pt idx="7">
                    <c:v>SCHICK XTREME 3 SENSITIVE GREEN 3 BLADE DISPOSABLE SENSITIVE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F84672-E299-455B-B12E-F24CA6D291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554C7F6-BCC9-4744-9E6E-8A865A0188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3128269-93FB-49F2-B990-20044BACD7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16BDDBA-4A96-43FE-877D-783DA67136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3C4847D-5D79-4BB1-8A60-05BFD1C4C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71A49A-47E8-4BC3-BE37-F1EB9BDB1F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D779345-B761-4AEA-A699-BD41498060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5EB7ED-17D1-4DC4-9DCE-6D4FE7B0C0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20E513D-D8BC-48D7-A246-6EA925FA31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55B4AFE-4885-4EC8-82D6-72628EBAB2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5</c:v>
                </c:pt>
                <c:pt idx="1">
                  <c:v>0.99</c:v>
                </c:pt>
                <c:pt idx="2">
                  <c:v>0.97</c:v>
                </c:pt>
                <c:pt idx="3">
                  <c:v>0.93</c:v>
                </c:pt>
                <c:pt idx="4">
                  <c:v>0.98</c:v>
                </c:pt>
                <c:pt idx="5">
                  <c:v>0.99</c:v>
                </c:pt>
              </c:numCache>
            </c:numRef>
          </c:xVal>
          <c:yVal>
            <c:numRef>
              <c:f>Sheet1!$B$2:$B$7</c:f>
              <c:numCache>
                <c:formatCode>General</c:formatCode>
                <c:ptCount val="6"/>
                <c:pt idx="0">
                  <c:v>29486.863157894739</c:v>
                </c:pt>
                <c:pt idx="1">
                  <c:v>76941.121212121216</c:v>
                </c:pt>
                <c:pt idx="2">
                  <c:v>32042.247422680412</c:v>
                </c:pt>
                <c:pt idx="3">
                  <c:v>33695.247311827959</c:v>
                </c:pt>
                <c:pt idx="4">
                  <c:v>14956.693877551021</c:v>
                </c:pt>
                <c:pt idx="5">
                  <c:v>32799.737373737371</c:v>
                </c:pt>
              </c:numCache>
            </c:numRef>
          </c:yVal>
          <c:bubbleSize>
            <c:numRef>
              <c:f>Sheet1!$C$2:$C$7</c:f>
              <c:numCache>
                <c:formatCode>General</c:formatCode>
                <c:ptCount val="6"/>
                <c:pt idx="0">
                  <c:v>1549808.4678</c:v>
                </c:pt>
                <c:pt idx="1">
                  <c:v>3936071.3594</c:v>
                </c:pt>
                <c:pt idx="2">
                  <c:v>1407622.4701</c:v>
                </c:pt>
                <c:pt idx="3">
                  <c:v>1730514.1758999999</c:v>
                </c:pt>
                <c:pt idx="4">
                  <c:v>1029392.1368</c:v>
                </c:pt>
                <c:pt idx="5">
                  <c:v>1937934.2557999999</c:v>
                </c:pt>
              </c:numCache>
            </c:numRef>
          </c:bubbleSize>
          <c:bubble3D val="0"/>
          <c:extLst>
            <c:ext xmlns:c15="http://schemas.microsoft.com/office/drawing/2012/chart" uri="{02D57815-91ED-43cb-92C2-25804820EDAC}">
              <c15:datalabelsRange>
                <c15:f>Sheet1!$E$2:$E$21</c15:f>
                <c15:dlblRangeCache>
                  <c:ptCount val="20"/>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001CC5D-6969-43B4-8A4B-2EC4AFA43D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0A74C1-66CC-4DB5-AE69-BFDDB91A0A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C073775-C559-4BCB-ACBD-7193014584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8770F60-6866-41B2-B3F6-5113A6349C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6F4425B-1A82-4DD6-AB13-358A37F98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69F33FA-9E49-4791-9876-177D3E5AF6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760988-0553-4DF4-8713-E3D5ED4FD8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EA705A4-23B7-4AAB-B83C-4D10BE02B1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DF579D5-D7E5-421E-8F4B-B610D17FEE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14BF63-4896-4002-B18A-58C45CFD37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9300000000000004</c:v>
                </c:pt>
                <c:pt idx="1">
                  <c:v>0.85199999999999998</c:v>
                </c:pt>
                <c:pt idx="2">
                  <c:v>5.6000000000000001E-2</c:v>
                </c:pt>
              </c:numCache>
            </c:numRef>
          </c:xVal>
          <c:yVal>
            <c:numRef>
              <c:f>Sheet1!$B$2:$B$4</c:f>
              <c:numCache>
                <c:formatCode>General</c:formatCode>
                <c:ptCount val="3"/>
                <c:pt idx="0">
                  <c:v>17181.197982345519</c:v>
                </c:pt>
                <c:pt idx="1">
                  <c:v>48994.894366197179</c:v>
                </c:pt>
                <c:pt idx="2">
                  <c:v>21416.964285714279</c:v>
                </c:pt>
              </c:numCache>
            </c:numRef>
          </c:yVal>
          <c:bubbleSize>
            <c:numRef>
              <c:f>Sheet1!$C$2:$C$4</c:f>
              <c:numCache>
                <c:formatCode>General</c:formatCode>
                <c:ptCount val="3"/>
                <c:pt idx="0">
                  <c:v>1058631.9765999999</c:v>
                </c:pt>
                <c:pt idx="1">
                  <c:v>2538781.9904</c:v>
                </c:pt>
                <c:pt idx="2">
                  <c:v>75862.3751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BE0040-4614-4286-801B-0B41B2FAC3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5420113-7E13-4271-B814-9C9948DD5F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4157401-BBE8-42F6-AB6F-2764FEB33A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0FBEA3-4B3F-46E6-B92E-15EEF00200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551D1C-00F7-47FF-A3CF-053F2BAED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C1365CD-32E9-4CB4-B8FB-132F525229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0321C39-2767-43BB-BD15-FDDD5F4807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01BD46-C931-40F9-BCD1-637D824C66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85A9D0-7EAA-4836-8CCD-8E7974A4B2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BD73BE8-58D4-4CDC-9A07-D50CE6BE05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51</c:v>
                </c:pt>
              </c:numCache>
            </c:numRef>
          </c:xVal>
          <c:yVal>
            <c:numRef>
              <c:f>Sheet1!$B$2:$B$2</c:f>
              <c:numCache>
                <c:formatCode>General</c:formatCode>
                <c:ptCount val="1"/>
                <c:pt idx="0">
                  <c:v>31615.11318242344</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96137BE-F37F-453C-9FC8-AAA8D24F61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E40035F-04F3-4C2B-9058-2DB787AFF5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828E682-89EE-45A5-94DC-E5862E42E2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6ABB5E-C941-4331-99D2-51D7097D9F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387E6A9-5F71-4FBB-9391-CDD188DD2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615B3F1-99B8-4DED-BD96-E2BA472EE9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CBE39C0-1BA5-41AF-80B1-2827213F1B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D056A5-1374-465F-BDF9-4C52418DE3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5CA74D3-18BA-4621-9C24-B65417C061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A78B8C-0639-47C2-9584-526D6ACD5C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1700000000000001</c:v>
                </c:pt>
              </c:numCache>
            </c:numRef>
          </c:xVal>
          <c:yVal>
            <c:numRef>
              <c:f>Sheet1!$B$2:$B$2</c:f>
              <c:numCache>
                <c:formatCode>General</c:formatCode>
                <c:ptCount val="1"/>
                <c:pt idx="0">
                  <c:v>7625.1282051282042</c:v>
                </c:pt>
              </c:numCache>
            </c:numRef>
          </c:yVal>
          <c:bubbleSize>
            <c:numRef>
              <c:f>Sheet1!$C$2:$C$2</c:f>
              <c:numCache>
                <c:formatCode>General</c:formatCode>
                <c:ptCount val="1"/>
                <c:pt idx="0">
                  <c:v>56493.23780000000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B7F972-C133-456F-B229-AB317333C6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31F941B-05A4-4CA4-B665-7F6FA810FD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8E8364-B16A-4077-B012-38717E5159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A49C5FE-9FF5-4DE6-9745-6052280D2E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F0FE4FF-368A-46F5-B499-17686078D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A9B0422-4E4A-43CA-B1B6-020DE3818D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896834-97BF-47C6-816F-8D3EBAE8B5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D0840A0-1976-4A70-9A12-F86D60A5A8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5943C73-C8B6-4F84-8586-5D0D07F249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B7E8FC5-A6A5-4B6D-B1AE-C7F5C1C213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04</c:v>
                </c:pt>
                <c:pt idx="1">
                  <c:v>0.83</c:v>
                </c:pt>
                <c:pt idx="2">
                  <c:v>0.05</c:v>
                </c:pt>
              </c:numCache>
            </c:numRef>
          </c:xVal>
          <c:yVal>
            <c:numRef>
              <c:f>Sheet1!$B$2:$B$4</c:f>
              <c:numCache>
                <c:formatCode>General</c:formatCode>
                <c:ptCount val="3"/>
                <c:pt idx="0">
                  <c:v>1094.75</c:v>
                </c:pt>
                <c:pt idx="1">
                  <c:v>3435.0481927710839</c:v>
                </c:pt>
                <c:pt idx="2">
                  <c:v>999.2</c:v>
                </c:pt>
              </c:numCache>
            </c:numRef>
          </c:yVal>
          <c:bubbleSize>
            <c:numRef>
              <c:f>Sheet1!$C$2:$C$4</c:f>
              <c:numCache>
                <c:formatCode>General</c:formatCode>
                <c:ptCount val="3"/>
                <c:pt idx="0">
                  <c:v>3101.6833000000001</c:v>
                </c:pt>
                <c:pt idx="1">
                  <c:v>173389.4657</c:v>
                </c:pt>
                <c:pt idx="2">
                  <c:v>3205.0187999999998</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68678B4-BC5A-4900-BF77-D1269DBC7B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DB5005-58EB-4659-8FC6-108297553F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E96BC14-D6D6-4C40-B9A2-5CBFE47676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532770F-9388-4E2D-BCBB-8E2213C69B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2ADD3D8-F3FA-4232-9F01-150F08D0C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CA02595-81FB-4B86-9443-B67566C514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66167FF-25EA-4048-B772-FBDD10D2BC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1BCAEE-5DAE-46DC-9323-06C194756A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6D5368A-03A3-4E08-A8D5-629D25B604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09C8C27-B6D8-41B1-8D02-FC063A8C5D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c:v>
                </c:pt>
              </c:numCache>
            </c:numRef>
          </c:xVal>
          <c:yVal>
            <c:numRef>
              <c:f>Sheet1!$B$2:$B$2</c:f>
              <c:numCache>
                <c:formatCode>General</c:formatCode>
                <c:ptCount val="1"/>
                <c:pt idx="0">
                  <c:v>2192.542857142857</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D0B6426-29BA-4966-9D40-FB1EB47C81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9E290C-5A19-4207-9ED3-AD7FB876EB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6CD7C86-3AB3-4584-AD36-87B687D4B9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ECA6237-2227-4641-BD5C-FEB81F803F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6D258A-09DC-4F62-B75C-DA872C4ED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AC9E879-AF29-4DFE-AC1D-743222E24F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41DB8FF-2ED5-4F08-AE30-24171D4493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401FD73-F4AA-403E-AF2D-823F9B3372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3668BC9-A18F-4840-98CF-BC0E30A799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C65AAFD-A3B2-4816-BA5C-F7CA4C1EAA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05</c:v>
                </c:pt>
              </c:numCache>
            </c:numRef>
          </c:xVal>
          <c:yVal>
            <c:numRef>
              <c:f>Sheet1!$B$2:$B$2</c:f>
              <c:numCache>
                <c:formatCode>General</c:formatCode>
                <c:ptCount val="1"/>
                <c:pt idx="0">
                  <c:v>472.6</c:v>
                </c:pt>
              </c:numCache>
            </c:numRef>
          </c:yVal>
          <c:bubbleSize>
            <c:numRef>
              <c:f>Sheet1!$C$2:$C$2</c:f>
              <c:numCache>
                <c:formatCode>General</c:formatCode>
                <c:ptCount val="1"/>
                <c:pt idx="0">
                  <c:v>1486.0825</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1F57271-060C-41EE-BBB0-74A1FEC1D5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F676EAB-1A94-42B2-AF01-483AD34680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4C87019-29FC-4A2F-8399-9F36B96894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9A86FF9-C110-4AE9-BFCE-1F124C3D4D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12279CA-EA1E-45C4-A8F6-57996B3B5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92CEEB3-5AE6-4600-BECF-5B08238473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4F46DC8-D9B4-44E2-BBC4-E7BDA7AA8C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97E44FD-12AD-47E6-A1A4-0DBE71B9DC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EF6A4F0-4485-47C3-85C1-7A34774D67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D54CFE0-F611-4A34-B275-973E4CAC92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61</c:v>
                </c:pt>
              </c:numCache>
            </c:numRef>
          </c:xVal>
          <c:yVal>
            <c:numRef>
              <c:f>Sheet1!$B$2:$B$2</c:f>
              <c:numCache>
                <c:formatCode>General</c:formatCode>
                <c:ptCount val="1"/>
                <c:pt idx="0">
                  <c:v>4743.377049180328</c:v>
                </c:pt>
              </c:numCache>
            </c:numRef>
          </c:yVal>
          <c:bubbleSize>
            <c:numRef>
              <c:f>Sheet1!$C$2:$C$2</c:f>
              <c:numCache>
                <c:formatCode>General</c:formatCode>
                <c:ptCount val="1"/>
                <c:pt idx="0">
                  <c:v>175947.76449999999</c:v>
                </c:pt>
              </c:numCache>
            </c:numRef>
          </c:bubbleSize>
          <c:bubble3D val="0"/>
          <c:extLst>
            <c:ext xmlns:c15="http://schemas.microsoft.com/office/drawing/2012/chart" uri="{02D57815-91ED-43cb-92C2-25804820EDAC}">
              <c15:datalabelsRange>
                <c15:f>Sheet1!$E$2:$E$21</c15:f>
                <c15:dlblRangeCache>
                  <c:ptCount val="20"/>
                  <c:pt idx="0">
                    <c:v>HYDRO 5 SENSITIVE 5 BLADE RAZOR SENSITIVE 3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EADE3E4-B876-40D6-A1CB-A8FE34F14A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77C1F8B-52BE-4BF6-80E9-433413C609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EE17B53-72C5-4235-BBE8-F60BFBE8B7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2ECA67C-F655-41D9-A8EC-544487096D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829649-C54C-4D95-A131-7D5E4ACF7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033EB3B-99FE-4C93-9884-30ACA0AABE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2FE61B9-534C-43E5-A0D3-9D291C5C21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FFF27B-30E5-4DF7-B658-27BCC4B9FC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CF8435E-0A67-4963-A795-FD33AD1539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9BEB1EB-7EE7-42B1-A676-9A2750C034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53</c:v>
                </c:pt>
              </c:numCache>
            </c:numRef>
          </c:xVal>
          <c:yVal>
            <c:numRef>
              <c:f>Sheet1!$B$2:$B$2</c:f>
              <c:numCache>
                <c:formatCode>General</c:formatCode>
                <c:ptCount val="1"/>
                <c:pt idx="0">
                  <c:v>3302.6981132075471</c:v>
                </c:pt>
              </c:numCache>
            </c:numRef>
          </c:yVal>
          <c:bubbleSize>
            <c:numRef>
              <c:f>Sheet1!$C$2:$C$2</c:f>
              <c:numCache>
                <c:formatCode>General</c:formatCode>
                <c:ptCount val="1"/>
                <c:pt idx="0">
                  <c:v>89489.170400000003</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B$2:$B$8</c:f>
              <c:numCache>
                <c:formatCode>General</c:formatCode>
                <c:ptCount val="7"/>
                <c:pt idx="0">
                  <c:v>0.62568502670852777</c:v>
                </c:pt>
                <c:pt idx="1">
                  <c:v>0.24117258792104182</c:v>
                </c:pt>
                <c:pt idx="2">
                  <c:v>4.8878093988261435E-2</c:v>
                </c:pt>
                <c:pt idx="3">
                  <c:v>4.3446221986879467E-2</c:v>
                </c:pt>
                <c:pt idx="4">
                  <c:v>3.9975640468725468E-2</c:v>
                </c:pt>
                <c:pt idx="5">
                  <c:v>6.6141515998562787E-6</c:v>
                </c:pt>
                <c:pt idx="6">
                  <c:v>8.358147749641911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C$2:$C$8</c:f>
              <c:numCache>
                <c:formatCode>General</c:formatCode>
                <c:ptCount val="7"/>
                <c:pt idx="0">
                  <c:v>0.53740875912408748</c:v>
                </c:pt>
                <c:pt idx="1">
                  <c:v>0.18521897810218974</c:v>
                </c:pt>
                <c:pt idx="2">
                  <c:v>0.13321167883211676</c:v>
                </c:pt>
                <c:pt idx="3">
                  <c:v>8.0291970802919707E-2</c:v>
                </c:pt>
                <c:pt idx="4">
                  <c:v>5.2007299270072992E-2</c:v>
                </c:pt>
                <c:pt idx="5">
                  <c:v>0</c:v>
                </c:pt>
                <c:pt idx="6">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Equate</c:v>
                </c:pt>
                <c:pt idx="3">
                  <c:v>Dollar Shave Club</c:v>
                </c:pt>
                <c:pt idx="4">
                  <c:v>Schick</c:v>
                </c:pt>
                <c:pt idx="5">
                  <c:v>Cremo</c:v>
                </c:pt>
                <c:pt idx="6">
                  <c:v>Others</c:v>
                </c:pt>
              </c:strCache>
            </c:strRef>
          </c:cat>
          <c:val>
            <c:numRef>
              <c:f>Sheet1!$D$2:$D$8</c:f>
              <c:numCache>
                <c:formatCode>General</c:formatCode>
                <c:ptCount val="7"/>
                <c:pt idx="0">
                  <c:v>0.85891260967387129</c:v>
                </c:pt>
                <c:pt idx="1">
                  <c:v>0.76799349253916493</c:v>
                </c:pt>
                <c:pt idx="2">
                  <c:v>2.7253861180452104</c:v>
                </c:pt>
                <c:pt idx="3">
                  <c:v>1.8480771660000141</c:v>
                </c:pt>
                <c:pt idx="4">
                  <c:v>1.3009747601357473</c:v>
                </c:pt>
                <c:pt idx="5">
                  <c:v>0</c:v>
                </c:pt>
                <c:pt idx="6">
                  <c:v>14.19131872743134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0970303-8018-43BC-B6E8-F107B91E16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87B477F-9CEC-4653-9CEE-9C17C312B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00B1EA6-8BA8-488F-A226-6FA2F762B0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098C127-6BC0-4CCA-9D77-F2F88562DC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70F2292-0DA3-403C-A6AE-C72755744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E63E9C7-DA71-41A3-BE00-EBE8C53058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E3C461-F6A9-44C6-84F7-D1C029FDD3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536110D-673C-4F0F-8812-B64910F89D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E77D12E-0024-4E33-8567-4A6D592EAB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2AD0767-2573-4F6F-944F-F3C6524ABE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1</c:v>
                </c:pt>
                <c:pt idx="1">
                  <c:v>0.87</c:v>
                </c:pt>
                <c:pt idx="2">
                  <c:v>0.06</c:v>
                </c:pt>
              </c:numCache>
            </c:numRef>
          </c:xVal>
          <c:yVal>
            <c:numRef>
              <c:f>Sheet1!$B$2:$B$4</c:f>
              <c:numCache>
                <c:formatCode>General</c:formatCode>
                <c:ptCount val="3"/>
                <c:pt idx="0">
                  <c:v>14923.912087912089</c:v>
                </c:pt>
                <c:pt idx="1">
                  <c:v>41378.275862068956</c:v>
                </c:pt>
                <c:pt idx="2">
                  <c:v>19149.166666666672</c:v>
                </c:pt>
              </c:numCache>
            </c:numRef>
          </c:yVal>
          <c:bubbleSize>
            <c:numRef>
              <c:f>Sheet1!$C$2:$C$4</c:f>
              <c:numCache>
                <c:formatCode>General</c:formatCode>
                <c:ptCount val="3"/>
                <c:pt idx="0">
                  <c:v>1055523.5941999999</c:v>
                </c:pt>
                <c:pt idx="1">
                  <c:v>2189444.7601999999</c:v>
                </c:pt>
                <c:pt idx="2">
                  <c:v>72621.147599999997</c:v>
                </c:pt>
              </c:numCache>
            </c:numRef>
          </c:bubbleSize>
          <c:bubble3D val="0"/>
          <c:extLst>
            <c:ext xmlns:c15="http://schemas.microsoft.com/office/drawing/2012/chart" uri="{02D57815-91ED-43cb-92C2-25804820EDAC}">
              <c15:datalabelsRange>
                <c15:f>Sheet1!$E$2:$E$21</c15:f>
                <c15:dlblRangeCache>
                  <c:ptCount val="20"/>
                  <c:pt idx="0">
                    <c:v>HYDRO 5 SENSITIVE GRAY HOLIDAY GIFT PACK 5 BLADE RAZOR SENSITIVE 3CT</c:v>
                  </c:pt>
                  <c:pt idx="1">
                    <c:v>HYDRO 5 SENSITIVE 5 BLADE RAZOR SENSITIVE 3CT</c:v>
                  </c:pt>
                  <c:pt idx="2">
                    <c:v>SCHICK HYDRO 3 SENSITIVE 3 BLADE RAZOR SENSITIVE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1D3651-A15C-4122-ACC9-A80F9793F5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E079B16-930E-4E32-B6B3-FDB0CA00D6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5BABB6C-8684-42C4-A985-41B5DA779A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C2A45E-E2F6-4899-A3C9-3643537C19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B46ACC1-6EEE-40A6-B861-582D53799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02FDA94-3635-44D7-A895-A8E6035772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13E53CD-AA98-4916-83A0-5B304EC5F9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70E5C80-15AC-42F9-A485-F926B5D9BD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DCD8B33-BC45-4633-90F3-026A93B206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F6C5A0C-CA99-4D22-A830-C3F4733495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7</c:v>
                </c:pt>
              </c:numCache>
            </c:numRef>
          </c:xVal>
          <c:yVal>
            <c:numRef>
              <c:f>Sheet1!$B$2:$B$2</c:f>
              <c:numCache>
                <c:formatCode>General</c:formatCode>
                <c:ptCount val="1"/>
                <c:pt idx="0">
                  <c:v>26568.493506493509</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1</c15:f>
                <c15:dlblRangeCache>
                  <c:ptCount val="20"/>
                  <c:pt idx="0">
                    <c:v>EQUATE EASY FIT 5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EA7F30C-DC72-49D9-959F-FCD4064B89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D8993F9-40F4-457E-B68F-F5FCC173BA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D01F1AA-5F1B-494D-A049-0D9F7C4720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1DC76B2-922A-486F-AAF3-D4B6A5238F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0C2EE4C-D420-4B45-A269-C7AC125AD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DCD2638-E13D-4307-A86F-AF7F091C04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C0915BD-D65F-42B3-9C1B-4E6B435274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88D29EC-94A8-44CA-B54F-A1D91EEEE1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7C74832-EF8B-4B66-BA59-08D454D92A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46A817-CE16-4B08-9D2C-A955C28D20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13</c:v>
                </c:pt>
              </c:numCache>
            </c:numRef>
          </c:xVal>
          <c:yVal>
            <c:numRef>
              <c:f>Sheet1!$B$2:$B$2</c:f>
              <c:numCache>
                <c:formatCode>General</c:formatCode>
                <c:ptCount val="1"/>
                <c:pt idx="0">
                  <c:v>6680.8461538461543</c:v>
                </c:pt>
              </c:numCache>
            </c:numRef>
          </c:yVal>
          <c:bubbleSize>
            <c:numRef>
              <c:f>Sheet1!$C$2:$C$2</c:f>
              <c:numCache>
                <c:formatCode>General</c:formatCode>
                <c:ptCount val="1"/>
                <c:pt idx="0">
                  <c:v>55007.155300000013</c:v>
                </c:pt>
              </c:numCache>
            </c:numRef>
          </c:bubbleSize>
          <c:bubble3D val="0"/>
          <c:extLst>
            <c:ext xmlns:c15="http://schemas.microsoft.com/office/drawing/2012/chart" uri="{02D57815-91ED-43cb-92C2-25804820EDAC}">
              <c15:datalabelsRange>
                <c15:f>Sheet1!$E$2:$E$21</c15:f>
                <c15:dlblRangeCache>
                  <c:ptCount val="20"/>
                  <c:pt idx="0">
                    <c:v>CREMO 5 BLADE RAZOR NORMAL 2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720BA7-A2E7-431E-AC39-9FCFE35084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2BDFE49-9A9B-437C-A3E7-3623C4D62D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AFC7573-F886-4C3C-B72D-CA10D16AEB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FC60F39-948E-4062-85E2-5D5F1268CE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95DEC15-8DFB-4DD7-9775-0743E90CD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39EAC03-8FDD-4B8C-A73F-BB7A5FFD23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8FDDB22-C120-4000-BE5F-45B5B3B1CB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188DDD-A843-4577-A196-C8C62F13C2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B727DA9-0AF0-4739-90FF-E0C0E5EC23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FF52195-1855-4AAE-ACA7-F2DFBA5019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78500000000000003</c:v>
                </c:pt>
                <c:pt idx="2">
                  <c:v>0.44800000000000001</c:v>
                </c:pt>
                <c:pt idx="3">
                  <c:v>4.5999999999999999E-2</c:v>
                </c:pt>
              </c:numCache>
            </c:numRef>
          </c:xVal>
          <c:yVal>
            <c:numRef>
              <c:f>Sheet1!$B$2:$B$5</c:f>
              <c:numCache>
                <c:formatCode>General</c:formatCode>
                <c:ptCount val="4"/>
                <c:pt idx="0">
                  <c:v>5644</c:v>
                </c:pt>
                <c:pt idx="1">
                  <c:v>68443.006369426745</c:v>
                </c:pt>
                <c:pt idx="2">
                  <c:v>75992.745535714275</c:v>
                </c:pt>
                <c:pt idx="3">
                  <c:v>21986.73913043478</c:v>
                </c:pt>
              </c:numCache>
            </c:numRef>
          </c:yVal>
          <c:bubbleSize>
            <c:numRef>
              <c:f>Sheet1!$C$2:$C$5</c:f>
              <c:numCache>
                <c:formatCode>General</c:formatCode>
                <c:ptCount val="4"/>
                <c:pt idx="0">
                  <c:v>8139.9551999999994</c:v>
                </c:pt>
                <c:pt idx="1">
                  <c:v>3648181.7445999999</c:v>
                </c:pt>
                <c:pt idx="2">
                  <c:v>2654418.0469</c:v>
                </c:pt>
                <c:pt idx="3">
                  <c:v>72733.44779999998</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C37BD2-09FE-499E-AC90-AD361D597B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94DEF4-DAF7-4FC5-BAF9-B8A9D831CD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3E95EAB-B4C4-48A0-913F-ECD7ABABCF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C1667CA-CF52-4EB3-B774-3489CC510F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AF04386-A621-490B-A121-0577A4354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480D54-550B-4C86-8981-FA5DCECE7B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66491BE-166D-4A92-8FAC-6D9565F0F7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A83DA87-B4EA-4FEE-910A-3969F41476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6352C3C-FCA5-4A2A-980E-2142165751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42938C7-FF34-4F2B-A8BA-360691C695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8899999999999995</c:v>
                </c:pt>
                <c:pt idx="1">
                  <c:v>0.84499999999999997</c:v>
                </c:pt>
                <c:pt idx="2">
                  <c:v>0.58399999999999996</c:v>
                </c:pt>
              </c:numCache>
            </c:numRef>
          </c:xVal>
          <c:yVal>
            <c:numRef>
              <c:f>Sheet1!$B$2:$B$4</c:f>
              <c:numCache>
                <c:formatCode>General</c:formatCode>
                <c:ptCount val="3"/>
                <c:pt idx="0">
                  <c:v>10233.43976777939</c:v>
                </c:pt>
                <c:pt idx="1">
                  <c:v>54222.520710059172</c:v>
                </c:pt>
                <c:pt idx="2">
                  <c:v>38536.181506849323</c:v>
                </c:pt>
              </c:numCache>
            </c:numRef>
          </c:yVal>
          <c:bubbleSize>
            <c:numRef>
              <c:f>Sheet1!$C$2:$C$4</c:f>
              <c:numCache>
                <c:formatCode>General</c:formatCode>
                <c:ptCount val="3"/>
                <c:pt idx="0">
                  <c:v>423999.08850000001</c:v>
                </c:pt>
                <c:pt idx="1">
                  <c:v>2611438.9336000001</c:v>
                </c:pt>
                <c:pt idx="2">
                  <c:v>1343734.6551000001</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B43BEF2-3A7D-415F-947E-439915536C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3163619-6849-4D75-941E-7B85626740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4A6D9F1-9355-459D-A711-94A5685E93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0773E72-09A2-4560-85B2-880257AB19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5E877AC-3F55-4466-9BBE-441EACF40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39C4A34-FAD1-4462-92B3-9972C36A77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4527569-CE21-41E5-8D8D-1CC8E0F437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5494C5-36FC-46E8-9E7A-6937C900FC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ACE150C-2167-480F-B2B1-960B4E98DE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007C228-126B-4BAA-BA37-F7445E753C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6.4000000000000001E-2</c:v>
                </c:pt>
              </c:numCache>
            </c:numRef>
          </c:xVal>
          <c:yVal>
            <c:numRef>
              <c:f>Sheet1!$B$2:$B$2</c:f>
              <c:numCache>
                <c:formatCode>General</c:formatCode>
                <c:ptCount val="1"/>
                <c:pt idx="0">
                  <c:v>6750.3125</c:v>
                </c:pt>
              </c:numCache>
            </c:numRef>
          </c:yVal>
          <c:bubbleSize>
            <c:numRef>
              <c:f>Sheet1!$C$2:$C$2</c:f>
              <c:numCache>
                <c:formatCode>General</c:formatCode>
                <c:ptCount val="1"/>
                <c:pt idx="0">
                  <c:v>28272.3696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FEBC431-8D1D-418C-B6BB-33EBA7045E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8EEAEB7-3AB5-45EB-8529-818E528EDD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FF99BA2-65D9-41C5-89C5-5B1B485381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A186973-8BDC-4AA1-B11E-868C097191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7D18CBD-8CB0-457F-B48B-5A2449EE1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30D22FA-981E-4579-B69D-D11F00E8BD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953E88-D519-4DF8-B2C2-74B717D7F0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EE01C6D-0C73-4D85-8F17-FB7E281175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00CF147-FAAA-443F-A33E-FD7BB42D94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427C627-E717-4A77-8656-2D9631CB53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9</c:v>
                </c:pt>
                <c:pt idx="1">
                  <c:v>0.31</c:v>
                </c:pt>
                <c:pt idx="2">
                  <c:v>0.04</c:v>
                </c:pt>
              </c:numCache>
            </c:numRef>
          </c:xVal>
          <c:yVal>
            <c:numRef>
              <c:f>Sheet1!$B$2:$B$4</c:f>
              <c:numCache>
                <c:formatCode>General</c:formatCode>
                <c:ptCount val="3"/>
                <c:pt idx="0">
                  <c:v>4560.0253164556962</c:v>
                </c:pt>
                <c:pt idx="1">
                  <c:v>5275.4193548387093</c:v>
                </c:pt>
                <c:pt idx="2">
                  <c:v>1055.75</c:v>
                </c:pt>
              </c:numCache>
            </c:numRef>
          </c:yVal>
          <c:bubbleSize>
            <c:numRef>
              <c:f>Sheet1!$C$2:$C$4</c:f>
              <c:numCache>
                <c:formatCode>General</c:formatCode>
                <c:ptCount val="3"/>
                <c:pt idx="0">
                  <c:v>244698.5876</c:v>
                </c:pt>
                <c:pt idx="1">
                  <c:v>127660.91680000001</c:v>
                </c:pt>
                <c:pt idx="2">
                  <c:v>3367.1781000000001</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6CT</c:v>
                  </c:pt>
                  <c:pt idx="1">
                    <c:v>HYDRO 5 SENSITIVE 5 BLADE REFILL SENSITIVE 12CT</c:v>
                  </c:pt>
                  <c:pt idx="2">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E20AAB9-749F-457E-8557-AB56BDE711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A7E37AF-67F0-46E8-AF87-D2ECBA2B1F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6870745-0492-4026-95C2-EF02D7305E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5F17531-4DDF-40FF-8B19-7AF8CB6EFF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1F0312A-CB6D-4A4E-B3F4-3D5F544AB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0F4EBB0-AF63-4E00-AA30-F40E80456D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2CBB2CB-250A-49B2-8F37-EEF3EF00A6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B42A20D-9864-441F-89DF-678084BDFD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16A052-CDC1-470A-8A30-3835E858EF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4E342C7-0A7F-4F98-87F0-6CE02E4E45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7</c:v>
                </c:pt>
                <c:pt idx="1">
                  <c:v>0.83</c:v>
                </c:pt>
                <c:pt idx="2">
                  <c:v>0.54</c:v>
                </c:pt>
              </c:numCache>
            </c:numRef>
          </c:xVal>
          <c:yVal>
            <c:numRef>
              <c:f>Sheet1!$B$2:$B$4</c:f>
              <c:numCache>
                <c:formatCode>General</c:formatCode>
                <c:ptCount val="3"/>
                <c:pt idx="0">
                  <c:v>745.05970149253733</c:v>
                </c:pt>
                <c:pt idx="1">
                  <c:v>3421.4096385542171</c:v>
                </c:pt>
                <c:pt idx="2">
                  <c:v>2624.6851851851852</c:v>
                </c:pt>
              </c:numCache>
            </c:numRef>
          </c:yVal>
          <c:bubbleSize>
            <c:numRef>
              <c:f>Sheet1!$C$2:$C$4</c:f>
              <c:numCache>
                <c:formatCode>General</c:formatCode>
                <c:ptCount val="3"/>
                <c:pt idx="0">
                  <c:v>30082.322400000001</c:v>
                </c:pt>
                <c:pt idx="1">
                  <c:v>162101.8536</c:v>
                </c:pt>
                <c:pt idx="2">
                  <c:v>85603.147899999982</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194B880-7C99-4111-9ADB-96CD7ECF42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EB2CB23-DA13-4A31-8E2D-48FD9BC288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5E7DDA6-27BE-4BFC-BEFB-5F0FCBF0EC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FF08976-155E-437E-934F-55336380AF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77FC34-4EBA-4099-8FF8-C43EBC1C0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36A31F3-9842-4F3B-A31E-61CB287763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F94DCFD-BFAC-4AED-A06C-25C56AAA68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BA69DC3-25AF-4870-8CBE-A093D66AEC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6D8ED72-BE6C-4D4D-9FCD-14D22B98BE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FF6FDB6-87C3-40B7-83F4-96F86FC7F8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01</c:v>
                </c:pt>
                <c:pt idx="1">
                  <c:v>0.56000000000000005</c:v>
                </c:pt>
              </c:numCache>
            </c:numRef>
          </c:xVal>
          <c:yVal>
            <c:numRef>
              <c:f>Sheet1!$B$2:$B$3</c:f>
              <c:numCache>
                <c:formatCode>General</c:formatCode>
                <c:ptCount val="2"/>
                <c:pt idx="0">
                  <c:v>839</c:v>
                </c:pt>
                <c:pt idx="1">
                  <c:v>7307.5535714285706</c:v>
                </c:pt>
              </c:numCache>
            </c:numRef>
          </c:yVal>
          <c:bubbleSize>
            <c:numRef>
              <c:f>Sheet1!$C$2:$C$3</c:f>
              <c:numCache>
                <c:formatCode>General</c:formatCode>
                <c:ptCount val="2"/>
                <c:pt idx="0">
                  <c:v>1341.184</c:v>
                </c:pt>
                <c:pt idx="1">
                  <c:v>278077.10879999999</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4616C26-2498-4DDB-A212-E797F29AF2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EEDA3D3-7A4E-470A-9944-CAAD3B37E0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7A8CE3-32A4-4882-8A46-E0EAB64B30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6C727CC-C983-4D8A-8A44-C799B57E57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424D83C-38E4-4715-A741-B162CDA07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C53FDD6-7208-434C-8A16-FD948D8A8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23B33A-782C-4DF5-B54C-74BBC8EAD1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92B4C93-3EA2-46B7-B307-2C200565E7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8DA59C4-9C83-4508-87F8-E0C2ECE8CF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2BECD09-3874-48D2-973E-A9C24C707D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41</c:v>
                </c:pt>
                <c:pt idx="1">
                  <c:v>0.65</c:v>
                </c:pt>
                <c:pt idx="2">
                  <c:v>0.4</c:v>
                </c:pt>
              </c:numCache>
            </c:numRef>
          </c:xVal>
          <c:yVal>
            <c:numRef>
              <c:f>Sheet1!$B$2:$B$4</c:f>
              <c:numCache>
                <c:formatCode>General</c:formatCode>
                <c:ptCount val="3"/>
                <c:pt idx="0">
                  <c:v>1148.3170731707321</c:v>
                </c:pt>
                <c:pt idx="1">
                  <c:v>4936.0153846153844</c:v>
                </c:pt>
                <c:pt idx="2">
                  <c:v>3361.8</c:v>
                </c:pt>
              </c:numCache>
            </c:numRef>
          </c:yVal>
          <c:bubbleSize>
            <c:numRef>
              <c:f>Sheet1!$C$2:$C$4</c:f>
              <c:numCache>
                <c:formatCode>General</c:formatCode>
                <c:ptCount val="3"/>
                <c:pt idx="0">
                  <c:v>28301.748800000001</c:v>
                </c:pt>
                <c:pt idx="1">
                  <c:v>182797.47649999999</c:v>
                </c:pt>
                <c:pt idx="2">
                  <c:v>86297.400300000008</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B$2:$B$5</c:f>
              <c:numCache>
                <c:formatCode>General</c:formatCode>
                <c:ptCount val="4"/>
                <c:pt idx="0">
                  <c:v>0.89179053563435384</c:v>
                </c:pt>
                <c:pt idx="1">
                  <c:v>0.10328783626880353</c:v>
                </c:pt>
                <c:pt idx="2">
                  <c:v>3.3204645527582448E-6</c:v>
                </c:pt>
                <c:pt idx="3">
                  <c:v>4.918307632289889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C$2:$C$5</c:f>
              <c:numCache>
                <c:formatCode>General</c:formatCode>
                <c:ptCount val="4"/>
                <c:pt idx="0">
                  <c:v>0.78239608801955984</c:v>
                </c:pt>
                <c:pt idx="1">
                  <c:v>0.20537897310513448</c:v>
                </c:pt>
                <c:pt idx="2">
                  <c:v>0</c:v>
                </c:pt>
                <c:pt idx="3">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Cremo</c:v>
                </c:pt>
                <c:pt idx="3">
                  <c:v>Others</c:v>
                </c:pt>
              </c:strCache>
            </c:strRef>
          </c:cat>
          <c:val>
            <c:numRef>
              <c:f>Sheet1!$D$2:$D$5</c:f>
              <c:numCache>
                <c:formatCode>General</c:formatCode>
                <c:ptCount val="4"/>
                <c:pt idx="0">
                  <c:v>0.87733167908428311</c:v>
                </c:pt>
                <c:pt idx="1">
                  <c:v>1.9884139364740083</c:v>
                </c:pt>
                <c:pt idx="2">
                  <c:v>0</c:v>
                </c:pt>
                <c:pt idx="3">
                  <c:v>2.485598663053510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B$2:$B$9</c:f>
              <c:numCache>
                <c:formatCode>General</c:formatCode>
                <c:ptCount val="8"/>
                <c:pt idx="0">
                  <c:v>0.6134744192881163</c:v>
                </c:pt>
                <c:pt idx="1">
                  <c:v>0.24568657206703032</c:v>
                </c:pt>
                <c:pt idx="2">
                  <c:v>4.6936934837158432E-2</c:v>
                </c:pt>
                <c:pt idx="3">
                  <c:v>4.065174855644748E-2</c:v>
                </c:pt>
                <c:pt idx="4">
                  <c:v>3.8749661801431017E-2</c:v>
                </c:pt>
                <c:pt idx="5">
                  <c:v>1.4247753589506092E-2</c:v>
                </c:pt>
                <c:pt idx="6">
                  <c:v>2.4767659074531362E-4</c:v>
                </c:pt>
                <c:pt idx="7">
                  <c:v>5.233269565018312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C$2:$C$9</c:f>
              <c:numCache>
                <c:formatCode>General</c:formatCode>
                <c:ptCount val="8"/>
                <c:pt idx="0">
                  <c:v>0.55572519083969474</c:v>
                </c:pt>
                <c:pt idx="1">
                  <c:v>0.13944020356234099</c:v>
                </c:pt>
                <c:pt idx="2">
                  <c:v>6.8702290076335881E-2</c:v>
                </c:pt>
                <c:pt idx="3">
                  <c:v>7.4809160305343514E-2</c:v>
                </c:pt>
                <c:pt idx="4">
                  <c:v>0.11043256997455471</c:v>
                </c:pt>
                <c:pt idx="5">
                  <c:v>4.7328244274809167E-2</c:v>
                </c:pt>
                <c:pt idx="6">
                  <c:v>3.5623409669211202E-3</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Schick</c:v>
                </c:pt>
                <c:pt idx="3">
                  <c:v>Dollar Shave Club</c:v>
                </c:pt>
                <c:pt idx="4">
                  <c:v>Equate</c:v>
                </c:pt>
                <c:pt idx="5">
                  <c:v>Van Der Hagen</c:v>
                </c:pt>
                <c:pt idx="6">
                  <c:v>Cremo</c:v>
                </c:pt>
                <c:pt idx="7">
                  <c:v>Others</c:v>
                </c:pt>
              </c:strCache>
            </c:strRef>
          </c:cat>
          <c:val>
            <c:numRef>
              <c:f>Sheet1!$D$2:$D$9</c:f>
              <c:numCache>
                <c:formatCode>General</c:formatCode>
                <c:ptCount val="8"/>
                <c:pt idx="0">
                  <c:v>0.9058653032094891</c:v>
                </c:pt>
                <c:pt idx="1">
                  <c:v>0.56755321379264356</c:v>
                </c:pt>
                <c:pt idx="2">
                  <c:v>1.4637148828463022</c:v>
                </c:pt>
                <c:pt idx="3">
                  <c:v>1.8402445887774384</c:v>
                </c:pt>
                <c:pt idx="4">
                  <c:v>2.8498976466028525</c:v>
                </c:pt>
                <c:pt idx="5">
                  <c:v>3.3218039586021386</c:v>
                </c:pt>
                <c:pt idx="6">
                  <c:v>14.383034570208062</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8385AB1-BFF6-4A41-B266-9B2BEBB9D2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DF3FA6C-DC02-43B4-A0D8-84B52163EF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22FDBD-8331-4CFB-B4A2-43D7376CC8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0A14F1-6ED3-47C5-85FB-B9785897AA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F5F67B6-6CFA-4603-AFE7-9F5DE9218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BE87D35-FFB2-4942-B178-FC844AC16B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A954F4D-B403-4E04-AF60-5E3E278467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589E9AF-FAEF-4EEE-88FF-2361FD1873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9D04A4-96A7-484F-8158-1A043E3A9F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7117DFC-E547-41DD-9199-234B602898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1</c:v>
                </c:pt>
                <c:pt idx="1">
                  <c:v>0.8</c:v>
                </c:pt>
                <c:pt idx="2">
                  <c:v>0.49</c:v>
                </c:pt>
                <c:pt idx="3">
                  <c:v>0.05</c:v>
                </c:pt>
              </c:numCache>
            </c:numRef>
          </c:xVal>
          <c:yVal>
            <c:numRef>
              <c:f>Sheet1!$B$2:$B$5</c:f>
              <c:numCache>
                <c:formatCode>General</c:formatCode>
                <c:ptCount val="4"/>
                <c:pt idx="0">
                  <c:v>4359</c:v>
                </c:pt>
                <c:pt idx="1">
                  <c:v>57541.387499999997</c:v>
                </c:pt>
                <c:pt idx="2">
                  <c:v>66122.918367346938</c:v>
                </c:pt>
                <c:pt idx="3">
                  <c:v>19381.2</c:v>
                </c:pt>
              </c:numCache>
            </c:numRef>
          </c:yVal>
          <c:bubbleSize>
            <c:numRef>
              <c:f>Sheet1!$C$2:$C$5</c:f>
              <c:numCache>
                <c:formatCode>General</c:formatCode>
                <c:ptCount val="4"/>
                <c:pt idx="0">
                  <c:v>6169.4463999999998</c:v>
                </c:pt>
                <c:pt idx="1">
                  <c:v>3125406.0482000001</c:v>
                </c:pt>
                <c:pt idx="2">
                  <c:v>2525616.0184999998</c:v>
                </c:pt>
                <c:pt idx="3">
                  <c:v>69360.267600000006</c:v>
                </c:pt>
              </c:numCache>
            </c:numRef>
          </c:bubbleSize>
          <c:bubble3D val="0"/>
          <c:extLst>
            <c:ext xmlns:c15="http://schemas.microsoft.com/office/drawing/2012/chart" uri="{02D57815-91ED-43cb-92C2-25804820EDAC}">
              <c15:datalabelsRange>
                <c15:f>Sheet1!$E$2:$E$21</c15:f>
                <c15:dlblRangeCache>
                  <c:ptCount val="20"/>
                  <c:pt idx="0">
                    <c:v>HYDRO 5 SENSITIVE 5 BLADE REFILL SENSITIVE 4CT</c:v>
                  </c:pt>
                  <c:pt idx="1">
                    <c:v>HYDRO 5 SENSITIVE 5 BLADE REFILL SENSITIVE 6CT</c:v>
                  </c:pt>
                  <c:pt idx="2">
                    <c:v>HYDRO 5 SENSITIVE 5 BLADE REFILL SENSITIVE 12CT</c:v>
                  </c:pt>
                  <c:pt idx="3">
                    <c:v>SCHICK HYDRO 3 SENSITIVE 3 BLADE REFILL SENSITIVE 5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EBA6E6E-9BA1-45B6-A71E-2DF9E51ED6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5A88661-1D24-4B85-86A1-AA9FC27122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1C59EF-7DFE-4288-B833-D7200BED76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582CDBD-A336-4190-A7F3-FF1A16C5A0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07CAFF-B2C5-421F-ABFB-FAF07882B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3AFB546-D524-419B-8714-3FBA660DF5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8BABCA-C2B9-4D07-84FF-9ADDBF956A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731BB4D-3C85-4905-9E6C-9E70AF0862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481A1B-9D65-40B1-A88B-B8B1146795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345E968-98B3-4F58-9493-4011BCD10B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1</c:v>
                </c:pt>
                <c:pt idx="1">
                  <c:v>0.86</c:v>
                </c:pt>
                <c:pt idx="2">
                  <c:v>0.6</c:v>
                </c:pt>
              </c:numCache>
            </c:numRef>
          </c:xVal>
          <c:yVal>
            <c:numRef>
              <c:f>Sheet1!$B$2:$B$4</c:f>
              <c:numCache>
                <c:formatCode>General</c:formatCode>
                <c:ptCount val="3"/>
                <c:pt idx="0">
                  <c:v>8564.5633802816901</c:v>
                </c:pt>
                <c:pt idx="1">
                  <c:v>46244.011627906977</c:v>
                </c:pt>
                <c:pt idx="2">
                  <c:v>32905.133333333331</c:v>
                </c:pt>
              </c:numCache>
            </c:numRef>
          </c:yVal>
          <c:bubbleSize>
            <c:numRef>
              <c:f>Sheet1!$C$2:$C$4</c:f>
              <c:numCache>
                <c:formatCode>General</c:formatCode>
                <c:ptCount val="3"/>
                <c:pt idx="0">
                  <c:v>365615.01729999989</c:v>
                </c:pt>
                <c:pt idx="1">
                  <c:v>2266539.6035000002</c:v>
                </c:pt>
                <c:pt idx="2">
                  <c:v>1171834.1069</c:v>
                </c:pt>
              </c:numCache>
            </c:numRef>
          </c:bubbleSize>
          <c:bubble3D val="0"/>
          <c:extLst>
            <c:ext xmlns:c15="http://schemas.microsoft.com/office/drawing/2012/chart" uri="{02D57815-91ED-43cb-92C2-25804820EDAC}">
              <c15:datalabelsRange>
                <c15:f>Sheet1!$E$2:$E$21</c15:f>
                <c15:dlblRangeCache>
                  <c:ptCount val="20"/>
                  <c:pt idx="0">
                    <c:v>EQUATE EASY FIT 5 5 BLADE REFILL NORMAL 12CT</c:v>
                  </c:pt>
                  <c:pt idx="1">
                    <c:v>EQUATE EASY FIT 5 5 BLADE REFILL NORMAL 4CT</c:v>
                  </c:pt>
                  <c:pt idx="2">
                    <c:v>EQUATE EASY FIT 5 5 BLADE REFILL NORMAL 8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54FAEC-A775-426E-8C59-E00145EF01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187D02-C9CF-4972-B130-6E853D7EA6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C924AB1-42ED-4F04-8C38-E19B922429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B9476C7-30D4-4F99-A101-4B2BE4E586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EB00BF-03CA-4F9E-B051-04938C69B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DF1A3BC-AC11-42EA-A62E-A6ECB54518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0ED5D05-4B43-4926-9FEE-4EB6FC1CF5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B461B26-0710-427F-A7CD-F30028B55F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03D3CEC-8EAA-4B58-B6CF-284B9AADCE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E19FDBB-B5C6-4FB8-B93E-EF90CA1BBA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7.0000000000000007E-2</c:v>
                </c:pt>
              </c:numCache>
            </c:numRef>
          </c:xVal>
          <c:yVal>
            <c:numRef>
              <c:f>Sheet1!$B$2:$B$2</c:f>
              <c:numCache>
                <c:formatCode>General</c:formatCode>
                <c:ptCount val="1"/>
                <c:pt idx="0">
                  <c:v>5990.2857142857138</c:v>
                </c:pt>
              </c:numCache>
            </c:numRef>
          </c:yVal>
          <c:bubbleSize>
            <c:numRef>
              <c:f>Sheet1!$C$2:$C$2</c:f>
              <c:numCache>
                <c:formatCode>General</c:formatCode>
                <c:ptCount val="1"/>
                <c:pt idx="0">
                  <c:v>27404.931199999999</c:v>
                </c:pt>
              </c:numCache>
            </c:numRef>
          </c:bubbleSize>
          <c:bubble3D val="0"/>
          <c:extLst>
            <c:ext xmlns:c15="http://schemas.microsoft.com/office/drawing/2012/chart" uri="{02D57815-91ED-43cb-92C2-25804820EDAC}">
              <c15:datalabelsRange>
                <c15:f>Sheet1!$E$2:$E$21</c15:f>
                <c15:dlblRangeCache>
                  <c:ptCount val="20"/>
                  <c:pt idx="0">
                    <c:v>CREMO 5 BLADE REFILL NORMAL 4CT</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pt idx="8">
                  <c:v>2.762693074112463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5487835909236735</c:v>
                </c:pt>
                <c:pt idx="1">
                  <c:v>8.7931053557401911E-2</c:v>
                </c:pt>
                <c:pt idx="2">
                  <c:v>0.18810917257630907</c:v>
                </c:pt>
                <c:pt idx="3">
                  <c:v>9.5498346037681564E-2</c:v>
                </c:pt>
                <c:pt idx="4">
                  <c:v>0.1058867782584164</c:v>
                </c:pt>
                <c:pt idx="5">
                  <c:v>3.2581398178981959E-2</c:v>
                </c:pt>
                <c:pt idx="6">
                  <c:v>1.637367378773966E-2</c:v>
                </c:pt>
                <c:pt idx="7">
                  <c:v>1.6738762460033852E-2</c:v>
                </c:pt>
                <c:pt idx="8">
                  <c:v>2.002456051068161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0.80532655491381089</c:v>
                </c:pt>
                <c:pt idx="1">
                  <c:v>0.62086002073316693</c:v>
                </c:pt>
                <c:pt idx="2">
                  <c:v>1.7824113537163599</c:v>
                </c:pt>
                <c:pt idx="3">
                  <c:v>1.351550105429288</c:v>
                </c:pt>
                <c:pt idx="4">
                  <c:v>1.5457923049666866</c:v>
                </c:pt>
                <c:pt idx="5">
                  <c:v>1.2542257026400674</c:v>
                </c:pt>
                <c:pt idx="6">
                  <c:v>1.3665663878822933</c:v>
                </c:pt>
                <c:pt idx="7">
                  <c:v>1.5783679071585079</c:v>
                </c:pt>
                <c:pt idx="8">
                  <c:v>7.24820310237128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Schick</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B$2:$B$4</c:f>
              <c:numCache>
                <c:formatCode>General</c:formatCode>
                <c:ptCount val="3"/>
                <c:pt idx="0">
                  <c:v>0.89179053563435384</c:v>
                </c:pt>
                <c:pt idx="1">
                  <c:v>0.10328783626880353</c:v>
                </c:pt>
                <c:pt idx="2">
                  <c:v>4.921628096842647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C$2:$C$4</c:f>
              <c:numCache>
                <c:formatCode>General</c:formatCode>
                <c:ptCount val="3"/>
                <c:pt idx="0">
                  <c:v>0.78239608801955984</c:v>
                </c:pt>
                <c:pt idx="1">
                  <c:v>0.20537897310513448</c:v>
                </c:pt>
                <c:pt idx="2">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Others</c:v>
                </c:pt>
              </c:strCache>
            </c:strRef>
          </c:cat>
          <c:val>
            <c:numRef>
              <c:f>Sheet1!$D$2:$D$4</c:f>
              <c:numCache>
                <c:formatCode>General</c:formatCode>
                <c:ptCount val="3"/>
                <c:pt idx="0">
                  <c:v>0.87733167908428311</c:v>
                </c:pt>
                <c:pt idx="1">
                  <c:v>1.9884139364740083</c:v>
                </c:pt>
                <c:pt idx="2">
                  <c:v>2.48392170939292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B$2:$B$10</c:f>
              <c:numCache>
                <c:formatCode>General</c:formatCode>
                <c:ptCount val="9"/>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633102795252172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C$2:$C$10</c:f>
              <c:numCache>
                <c:formatCode>General</c:formatCode>
                <c:ptCount val="9"/>
                <c:pt idx="0">
                  <c:v>0.47198762935648869</c:v>
                </c:pt>
                <c:pt idx="1">
                  <c:v>8.5523968121803254E-2</c:v>
                </c:pt>
                <c:pt idx="2">
                  <c:v>0.17961222790531697</c:v>
                </c:pt>
                <c:pt idx="3">
                  <c:v>0.10074937552039966</c:v>
                </c:pt>
                <c:pt idx="4">
                  <c:v>9.4207208278815263E-2</c:v>
                </c:pt>
                <c:pt idx="5">
                  <c:v>3.3067681693826574E-2</c:v>
                </c:pt>
                <c:pt idx="6">
                  <c:v>1.7842274295230168E-2</c:v>
                </c:pt>
                <c:pt idx="7">
                  <c:v>1.5939098370405618E-2</c:v>
                </c:pt>
                <c:pt idx="8">
                  <c:v>1.0705364577138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Comfort 3</c:v>
                </c:pt>
                <c:pt idx="7">
                  <c:v>Van Der Hagen</c:v>
                </c:pt>
                <c:pt idx="8">
                  <c:v>Others</c:v>
                </c:pt>
              </c:strCache>
            </c:strRef>
          </c:cat>
          <c:val>
            <c:numRef>
              <c:f>Sheet1!$D$2:$D$10</c:f>
              <c:numCache>
                <c:formatCode>General</c:formatCode>
                <c:ptCount val="9"/>
                <c:pt idx="0">
                  <c:v>0.77602300432257099</c:v>
                </c:pt>
                <c:pt idx="1">
                  <c:v>0.72992974976447766</c:v>
                </c:pt>
                <c:pt idx="2">
                  <c:v>1.8170702576500144</c:v>
                </c:pt>
                <c:pt idx="3">
                  <c:v>1.4502724434767369</c:v>
                </c:pt>
                <c:pt idx="4">
                  <c:v>1.4622832453384631</c:v>
                </c:pt>
                <c:pt idx="5">
                  <c:v>1.5931252553469859</c:v>
                </c:pt>
                <c:pt idx="6">
                  <c:v>1.674794833334815</c:v>
                </c:pt>
                <c:pt idx="7">
                  <c:v>1.5382613404645256</c:v>
                </c:pt>
                <c:pt idx="8">
                  <c:v>10.06795926201164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B$2:$B$8</c:f>
              <c:numCache>
                <c:formatCode>General</c:formatCode>
                <c:ptCount val="7"/>
                <c:pt idx="0">
                  <c:v>0.57215875792109039</c:v>
                </c:pt>
                <c:pt idx="1">
                  <c:v>0.12903402387555485</c:v>
                </c:pt>
                <c:pt idx="2">
                  <c:v>0.1047374789670963</c:v>
                </c:pt>
                <c:pt idx="3">
                  <c:v>8.6360836984151618E-2</c:v>
                </c:pt>
                <c:pt idx="4">
                  <c:v>6.9859745722448893E-2</c:v>
                </c:pt>
                <c:pt idx="5">
                  <c:v>2.8475386707381922E-2</c:v>
                </c:pt>
                <c:pt idx="6">
                  <c:v>9.37376982227602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C$2:$C$8</c:f>
              <c:numCache>
                <c:formatCode>General</c:formatCode>
                <c:ptCount val="7"/>
                <c:pt idx="0">
                  <c:v>0.43537820131030386</c:v>
                </c:pt>
                <c:pt idx="1">
                  <c:v>8.7750645225332546E-2</c:v>
                </c:pt>
                <c:pt idx="2">
                  <c:v>0.17669247567996821</c:v>
                </c:pt>
                <c:pt idx="3">
                  <c:v>0.14036132618622196</c:v>
                </c:pt>
                <c:pt idx="4">
                  <c:v>0.10462576930712728</c:v>
                </c:pt>
                <c:pt idx="5">
                  <c:v>3.7720865594599959E-2</c:v>
                </c:pt>
                <c:pt idx="6">
                  <c:v>1.74707166964462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Bic</c:v>
                </c:pt>
                <c:pt idx="3">
                  <c:v>Equate</c:v>
                </c:pt>
                <c:pt idx="4">
                  <c:v>Schick</c:v>
                </c:pt>
                <c:pt idx="5">
                  <c:v>Dollar Shave Club</c:v>
                </c:pt>
                <c:pt idx="6">
                  <c:v>Others</c:v>
                </c:pt>
              </c:strCache>
            </c:strRef>
          </c:cat>
          <c:val>
            <c:numRef>
              <c:f>Sheet1!$D$2:$D$8</c:f>
              <c:numCache>
                <c:formatCode>General</c:formatCode>
                <c:ptCount val="7"/>
                <c:pt idx="0">
                  <c:v>0.76093950373534136</c:v>
                </c:pt>
                <c:pt idx="1">
                  <c:v>0.68005819387576794</c:v>
                </c:pt>
                <c:pt idx="2">
                  <c:v>1.6870033289179784</c:v>
                </c:pt>
                <c:pt idx="3">
                  <c:v>1.6252890903776229</c:v>
                </c:pt>
                <c:pt idx="4">
                  <c:v>1.497654596723025</c:v>
                </c:pt>
                <c:pt idx="5">
                  <c:v>1.3246831722506951</c:v>
                </c:pt>
                <c:pt idx="6">
                  <c:v>1.863787678563273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B$2:$B$10</c:f>
              <c:numCache>
                <c:formatCode>General</c:formatCode>
                <c:ptCount val="9"/>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710022486369845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C$2:$C$10</c:f>
              <c:numCache>
                <c:formatCode>General</c:formatCode>
                <c:ptCount val="9"/>
                <c:pt idx="0">
                  <c:v>0.4543415571932074</c:v>
                </c:pt>
                <c:pt idx="1">
                  <c:v>8.8112784363985897E-2</c:v>
                </c:pt>
                <c:pt idx="2">
                  <c:v>0.18914877710135639</c:v>
                </c:pt>
                <c:pt idx="3">
                  <c:v>9.3452953113318374E-2</c:v>
                </c:pt>
                <c:pt idx="4">
                  <c:v>0.10680337498664956</c:v>
                </c:pt>
                <c:pt idx="5">
                  <c:v>3.2361422620954816E-2</c:v>
                </c:pt>
                <c:pt idx="6">
                  <c:v>1.6874933247890633E-2</c:v>
                </c:pt>
                <c:pt idx="7">
                  <c:v>1.6768129872903981E-2</c:v>
                </c:pt>
                <c:pt idx="8">
                  <c:v>2.136067499732991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Equate</c:v>
                </c:pt>
                <c:pt idx="4">
                  <c:v>Schick</c:v>
                </c:pt>
                <c:pt idx="5">
                  <c:v>Dollar Shave Club</c:v>
                </c:pt>
                <c:pt idx="6">
                  <c:v>Van Der Hagen</c:v>
                </c:pt>
                <c:pt idx="7">
                  <c:v>Comfort 3</c:v>
                </c:pt>
                <c:pt idx="8">
                  <c:v>Others</c:v>
                </c:pt>
              </c:strCache>
            </c:strRef>
          </c:cat>
          <c:val>
            <c:numRef>
              <c:f>Sheet1!$D$2:$D$10</c:f>
              <c:numCache>
                <c:formatCode>General</c:formatCode>
                <c:ptCount val="9"/>
                <c:pt idx="0">
                  <c:v>0.81001379786098826</c:v>
                </c:pt>
                <c:pt idx="1">
                  <c:v>0.6102895247487663</c:v>
                </c:pt>
                <c:pt idx="2">
                  <c:v>1.7823751662399439</c:v>
                </c:pt>
                <c:pt idx="3">
                  <c:v>1.3395781961101105</c:v>
                </c:pt>
                <c:pt idx="4">
                  <c:v>1.5537255406388026</c:v>
                </c:pt>
                <c:pt idx="5">
                  <c:v>1.233413096406385</c:v>
                </c:pt>
                <c:pt idx="6">
                  <c:v>1.3161615909838713</c:v>
                </c:pt>
                <c:pt idx="7">
                  <c:v>1.5634956202329093</c:v>
                </c:pt>
                <c:pt idx="8">
                  <c:v>6.955603828297588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11803608629100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9405942618760357</c:v>
                </c:pt>
                <c:pt idx="1">
                  <c:v>0.13840207766712337</c:v>
                </c:pt>
                <c:pt idx="2">
                  <c:v>0.12257418048710662</c:v>
                </c:pt>
                <c:pt idx="3">
                  <c:v>6.1164393366188827E-2</c:v>
                </c:pt>
                <c:pt idx="4">
                  <c:v>6.0223717306394552E-2</c:v>
                </c:pt>
                <c:pt idx="5">
                  <c:v>5.8669556859777927E-2</c:v>
                </c:pt>
                <c:pt idx="6">
                  <c:v>3.0265229749902867E-2</c:v>
                </c:pt>
                <c:pt idx="7">
                  <c:v>3.0940062575407455E-2</c:v>
                </c:pt>
                <c:pt idx="8">
                  <c:v>3.7013558004948778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0.85680741036046093</c:v>
                </c:pt>
                <c:pt idx="1">
                  <c:v>0.66042717898672021</c:v>
                </c:pt>
                <c:pt idx="2">
                  <c:v>1.8364722179413804</c:v>
                </c:pt>
                <c:pt idx="3">
                  <c:v>1.3852861651114534</c:v>
                </c:pt>
                <c:pt idx="4">
                  <c:v>1.5548482524877438</c:v>
                </c:pt>
                <c:pt idx="5">
                  <c:v>1.9499419521000017</c:v>
                </c:pt>
                <c:pt idx="6">
                  <c:v>1.6941156249905365</c:v>
                </c:pt>
                <c:pt idx="7">
                  <c:v>1.9566833760959996</c:v>
                </c:pt>
                <c:pt idx="8">
                  <c:v>8.98815775999811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483715779090438</c:v>
                </c:pt>
                <c:pt idx="1">
                  <c:v>0.1416278236977879</c:v>
                </c:pt>
                <c:pt idx="2">
                  <c:v>0.11614144929913373</c:v>
                </c:pt>
                <c:pt idx="3">
                  <c:v>7.0658408200401479E-2</c:v>
                </c:pt>
                <c:pt idx="4">
                  <c:v>6.8770727729878953E-2</c:v>
                </c:pt>
                <c:pt idx="5">
                  <c:v>2.5977551047012572E-2</c:v>
                </c:pt>
                <c:pt idx="6">
                  <c:v>1.198161606558552E-2</c:v>
                </c:pt>
                <c:pt idx="7">
                  <c:v>4.6819440972454934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5487835909236735</c:v>
                </c:pt>
                <c:pt idx="1">
                  <c:v>8.7931053557401911E-2</c:v>
                </c:pt>
                <c:pt idx="2">
                  <c:v>0.20484793503634294</c:v>
                </c:pt>
                <c:pt idx="3">
                  <c:v>9.5498346037681564E-2</c:v>
                </c:pt>
                <c:pt idx="4">
                  <c:v>0.10788923430948459</c:v>
                </c:pt>
                <c:pt idx="5">
                  <c:v>3.2581398178981959E-2</c:v>
                </c:pt>
                <c:pt idx="6">
                  <c:v>1.637367378773966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0.80532654910914625</c:v>
                </c:pt>
                <c:pt idx="1">
                  <c:v>0.62086002073316693</c:v>
                </c:pt>
                <c:pt idx="2">
                  <c:v>1.7637797381771683</c:v>
                </c:pt>
                <c:pt idx="3">
                  <c:v>1.351549638180767</c:v>
                </c:pt>
                <c:pt idx="4">
                  <c:v>1.5688249618828702</c:v>
                </c:pt>
                <c:pt idx="5">
                  <c:v>1.2542136139014086</c:v>
                </c:pt>
                <c:pt idx="6">
                  <c:v>1.366566387882293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345956864738</c:v>
                </c:pt>
                <c:pt idx="1">
                  <c:v>6.540431352672705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6540474130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B$2:$B$10</c:f>
              <c:numCache>
                <c:formatCode>General</c:formatCode>
                <c:ptCount val="9"/>
                <c:pt idx="0">
                  <c:v>0.6182635657766159</c:v>
                </c:pt>
                <c:pt idx="1">
                  <c:v>0.18722367556157865</c:v>
                </c:pt>
                <c:pt idx="2">
                  <c:v>5.8906404971494332E-2</c:v>
                </c:pt>
                <c:pt idx="3">
                  <c:v>3.8609099767900716E-2</c:v>
                </c:pt>
                <c:pt idx="4">
                  <c:v>3.3453458305565988E-2</c:v>
                </c:pt>
                <c:pt idx="5">
                  <c:v>2.9502036126015829E-2</c:v>
                </c:pt>
                <c:pt idx="6">
                  <c:v>1.7170217377920939E-2</c:v>
                </c:pt>
                <c:pt idx="7">
                  <c:v>1.6700167215949389E-2</c:v>
                </c:pt>
                <c:pt idx="8">
                  <c:v>1.713748969582057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C$2:$C$10</c:f>
              <c:numCache>
                <c:formatCode>General</c:formatCode>
                <c:ptCount val="9"/>
                <c:pt idx="0">
                  <c:v>0.505338904363974</c:v>
                </c:pt>
                <c:pt idx="1">
                  <c:v>0.14159702878365829</c:v>
                </c:pt>
                <c:pt idx="2">
                  <c:v>0.10863509749303621</c:v>
                </c:pt>
                <c:pt idx="3">
                  <c:v>4.828226555246054E-2</c:v>
                </c:pt>
                <c:pt idx="4">
                  <c:v>6.4531104921077068E-2</c:v>
                </c:pt>
                <c:pt idx="5">
                  <c:v>6.3602599814298985E-2</c:v>
                </c:pt>
                <c:pt idx="6">
                  <c:v>3.4818941504178275E-2</c:v>
                </c:pt>
                <c:pt idx="7">
                  <c:v>3.1104921077065927E-2</c:v>
                </c:pt>
                <c:pt idx="8">
                  <c:v>2.089136490250696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Comfort 3</c:v>
                </c:pt>
                <c:pt idx="7">
                  <c:v>Van Der Hagen</c:v>
                </c:pt>
                <c:pt idx="8">
                  <c:v>Others</c:v>
                </c:pt>
              </c:strCache>
            </c:strRef>
          </c:cat>
          <c:val>
            <c:numRef>
              <c:f>Sheet1!$D$2:$D$10</c:f>
              <c:numCache>
                <c:formatCode>General</c:formatCode>
                <c:ptCount val="9"/>
                <c:pt idx="0">
                  <c:v>0.81735190675388658</c:v>
                </c:pt>
                <c:pt idx="1">
                  <c:v>0.75629873390177316</c:v>
                </c:pt>
                <c:pt idx="2">
                  <c:v>1.8441983948198217</c:v>
                </c:pt>
                <c:pt idx="3">
                  <c:v>1.2505410859799952</c:v>
                </c:pt>
                <c:pt idx="4">
                  <c:v>1.9289815818635523</c:v>
                </c:pt>
                <c:pt idx="5">
                  <c:v>2.1558715318029251</c:v>
                </c:pt>
                <c:pt idx="6">
                  <c:v>2.0278684152800364</c:v>
                </c:pt>
                <c:pt idx="7">
                  <c:v>1.862551474775616</c:v>
                </c:pt>
                <c:pt idx="8">
                  <c:v>12.1904463683510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B$2:$B$9</c:f>
              <c:numCache>
                <c:formatCode>General</c:formatCode>
                <c:ptCount val="8"/>
                <c:pt idx="0">
                  <c:v>0.59012128868399372</c:v>
                </c:pt>
                <c:pt idx="1">
                  <c:v>0.20514442686203471</c:v>
                </c:pt>
                <c:pt idx="2">
                  <c:v>6.2632646200993888E-2</c:v>
                </c:pt>
                <c:pt idx="3">
                  <c:v>4.56218420807529E-2</c:v>
                </c:pt>
                <c:pt idx="4">
                  <c:v>4.141829608641405E-2</c:v>
                </c:pt>
                <c:pt idx="5">
                  <c:v>4.0043314347797926E-2</c:v>
                </c:pt>
                <c:pt idx="6">
                  <c:v>1.3853653151430251E-2</c:v>
                </c:pt>
                <c:pt idx="7">
                  <c:v>1.164532586582598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C$2:$C$9</c:f>
              <c:numCache>
                <c:formatCode>General</c:formatCode>
                <c:ptCount val="8"/>
                <c:pt idx="0">
                  <c:v>0.47100840336134464</c:v>
                </c:pt>
                <c:pt idx="1">
                  <c:v>0.16218487394957984</c:v>
                </c:pt>
                <c:pt idx="2">
                  <c:v>0.11680672268907563</c:v>
                </c:pt>
                <c:pt idx="3">
                  <c:v>7.9831932773109252E-2</c:v>
                </c:pt>
                <c:pt idx="4">
                  <c:v>4.957983193277312E-2</c:v>
                </c:pt>
                <c:pt idx="5">
                  <c:v>8.3613445378151255E-2</c:v>
                </c:pt>
                <c:pt idx="6">
                  <c:v>2.8991596638655463E-2</c:v>
                </c:pt>
                <c:pt idx="7">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Dollar Shave Club</c:v>
                </c:pt>
                <c:pt idx="4">
                  <c:v>Schick</c:v>
                </c:pt>
                <c:pt idx="5">
                  <c:v>Equate</c:v>
                </c:pt>
                <c:pt idx="6">
                  <c:v>Comfort 3</c:v>
                </c:pt>
                <c:pt idx="7">
                  <c:v>Others</c:v>
                </c:pt>
              </c:strCache>
            </c:strRef>
          </c:cat>
          <c:val>
            <c:numRef>
              <c:f>Sheet1!$D$2:$D$9</c:f>
              <c:numCache>
                <c:formatCode>General</c:formatCode>
                <c:ptCount val="8"/>
                <c:pt idx="0">
                  <c:v>0.79815524773173663</c:v>
                </c:pt>
                <c:pt idx="1">
                  <c:v>0.79058873999367107</c:v>
                </c:pt>
                <c:pt idx="2">
                  <c:v>1.86494950754966</c:v>
                </c:pt>
                <c:pt idx="3">
                  <c:v>1.7498621084129573</c:v>
                </c:pt>
                <c:pt idx="4">
                  <c:v>1.1970514631826248</c:v>
                </c:pt>
                <c:pt idx="5">
                  <c:v>2.0880750442364255</c:v>
                </c:pt>
                <c:pt idx="6">
                  <c:v>2.092704091964535</c:v>
                </c:pt>
                <c:pt idx="7">
                  <c:v>6.855276846084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B$2:$B$10</c:f>
              <c:numCache>
                <c:formatCode>General</c:formatCode>
                <c:ptCount val="9"/>
                <c:pt idx="0">
                  <c:v>0.57279520332439515</c:v>
                </c:pt>
                <c:pt idx="1">
                  <c:v>0.21145741906350762</c:v>
                </c:pt>
                <c:pt idx="2">
                  <c:v>6.7557284837587397E-2</c:v>
                </c:pt>
                <c:pt idx="3">
                  <c:v>4.4717781070534597E-2</c:v>
                </c:pt>
                <c:pt idx="4">
                  <c:v>3.8719220420717626E-2</c:v>
                </c:pt>
                <c:pt idx="5">
                  <c:v>2.9552303786982627E-2</c:v>
                </c:pt>
                <c:pt idx="6">
                  <c:v>1.8920839671646029E-2</c:v>
                </c:pt>
                <c:pt idx="7">
                  <c:v>1.5826887485151132E-2</c:v>
                </c:pt>
                <c:pt idx="8">
                  <c:v>4.53060339477798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C$2:$C$10</c:f>
              <c:numCache>
                <c:formatCode>General</c:formatCode>
                <c:ptCount val="9"/>
                <c:pt idx="0">
                  <c:v>0.49403014288510477</c:v>
                </c:pt>
                <c:pt idx="1">
                  <c:v>0.13740458015267176</c:v>
                </c:pt>
                <c:pt idx="2">
                  <c:v>0.12370326874143667</c:v>
                </c:pt>
                <c:pt idx="3">
                  <c:v>6.2438833431199846E-2</c:v>
                </c:pt>
                <c:pt idx="4">
                  <c:v>5.9307105108631818E-2</c:v>
                </c:pt>
                <c:pt idx="5">
                  <c:v>5.7545507927187309E-2</c:v>
                </c:pt>
                <c:pt idx="6">
                  <c:v>3.092581718535917E-2</c:v>
                </c:pt>
                <c:pt idx="7">
                  <c:v>3.0730084165198669E-2</c:v>
                </c:pt>
                <c:pt idx="8">
                  <c:v>3.914660403210021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illette</c:v>
                </c:pt>
                <c:pt idx="1">
                  <c:v>Harry's</c:v>
                </c:pt>
                <c:pt idx="2">
                  <c:v>Bic</c:v>
                </c:pt>
                <c:pt idx="3">
                  <c:v>Schick</c:v>
                </c:pt>
                <c:pt idx="4">
                  <c:v>Dollar Shave Club</c:v>
                </c:pt>
                <c:pt idx="5">
                  <c:v>Equate</c:v>
                </c:pt>
                <c:pt idx="6">
                  <c:v>Van Der Hagen</c:v>
                </c:pt>
                <c:pt idx="7">
                  <c:v>Comfort 3</c:v>
                </c:pt>
                <c:pt idx="8">
                  <c:v>Others</c:v>
                </c:pt>
              </c:strCache>
            </c:strRef>
          </c:cat>
          <c:val>
            <c:numRef>
              <c:f>Sheet1!$D$2:$D$10</c:f>
              <c:numCache>
                <c:formatCode>General</c:formatCode>
                <c:ptCount val="9"/>
                <c:pt idx="0">
                  <c:v>0.86249001391395586</c:v>
                </c:pt>
                <c:pt idx="1">
                  <c:v>0.64979786834248954</c:v>
                </c:pt>
                <c:pt idx="2">
                  <c:v>1.8310870402626198</c:v>
                </c:pt>
                <c:pt idx="3">
                  <c:v>1.3962864868610843</c:v>
                </c:pt>
                <c:pt idx="4">
                  <c:v>1.5317226035082607</c:v>
                </c:pt>
                <c:pt idx="5">
                  <c:v>1.9472427037155491</c:v>
                </c:pt>
                <c:pt idx="6">
                  <c:v>1.6344843950928507</c:v>
                </c:pt>
                <c:pt idx="7">
                  <c:v>1.9416378737783908</c:v>
                </c:pt>
                <c:pt idx="8">
                  <c:v>8.6404835340963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082386189050302</c:v>
                </c:pt>
                <c:pt idx="1">
                  <c:v>0.18453803758152043</c:v>
                </c:pt>
                <c:pt idx="2">
                  <c:v>0.15328221133792058</c:v>
                </c:pt>
                <c:pt idx="3">
                  <c:v>0.11808405065965208</c:v>
                </c:pt>
                <c:pt idx="4">
                  <c:v>3.27183853040392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86964905514846</c:v>
                </c:pt>
                <c:pt idx="1">
                  <c:v>0.26535383725414563</c:v>
                </c:pt>
                <c:pt idx="2">
                  <c:v>0.13890763594292321</c:v>
                </c:pt>
                <c:pt idx="3">
                  <c:v>0.15860007713073654</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569241549891275</c:v>
                </c:pt>
                <c:pt idx="1">
                  <c:v>1.4379357271366044</c:v>
                </c:pt>
                <c:pt idx="2">
                  <c:v>0.90622150300723625</c:v>
                </c:pt>
                <c:pt idx="3">
                  <c:v>1.3431117601805669</c:v>
                </c:pt>
                <c:pt idx="4">
                  <c:v>8.6929592815811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Schick</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B$2:$B$6</c:f>
              <c:numCache>
                <c:formatCode>General</c:formatCode>
                <c:ptCount val="5"/>
                <c:pt idx="0">
                  <c:v>0.8391616314870245</c:v>
                </c:pt>
                <c:pt idx="1">
                  <c:v>8.0330250724088836E-2</c:v>
                </c:pt>
                <c:pt idx="2">
                  <c:v>6.5429725633512126E-2</c:v>
                </c:pt>
                <c:pt idx="3">
                  <c:v>1.1916705761139099E-2</c:v>
                </c:pt>
                <c:pt idx="4">
                  <c:v>3.161686394235389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C$2:$C$6</c:f>
              <c:numCache>
                <c:formatCode>General</c:formatCode>
                <c:ptCount val="5"/>
                <c:pt idx="0">
                  <c:v>0.61971830985915499</c:v>
                </c:pt>
                <c:pt idx="1">
                  <c:v>0.15937731653076354</c:v>
                </c:pt>
                <c:pt idx="2">
                  <c:v>7.3387694588584143E-2</c:v>
                </c:pt>
                <c:pt idx="3">
                  <c:v>5.9303187546330627E-2</c:v>
                </c:pt>
                <c:pt idx="4">
                  <c:v>8.821349147516678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Edgewell Personal Care</c:v>
                </c:pt>
                <c:pt idx="2">
                  <c:v>Harrys</c:v>
                </c:pt>
                <c:pt idx="3">
                  <c:v>Bic</c:v>
                </c:pt>
                <c:pt idx="4">
                  <c:v>Others</c:v>
                </c:pt>
              </c:strCache>
            </c:strRef>
          </c:cat>
          <c:val>
            <c:numRef>
              <c:f>Sheet1!$D$2:$D$6</c:f>
              <c:numCache>
                <c:formatCode>General</c:formatCode>
                <c:ptCount val="5"/>
                <c:pt idx="0">
                  <c:v>0.73849695530167647</c:v>
                </c:pt>
                <c:pt idx="1">
                  <c:v>1.9840261308056724</c:v>
                </c:pt>
                <c:pt idx="2">
                  <c:v>1.121626200905175</c:v>
                </c:pt>
                <c:pt idx="3">
                  <c:v>4.9764749365316145</c:v>
                </c:pt>
                <c:pt idx="4">
                  <c:v>27.900772080369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B$2:$B$6</c:f>
              <c:numCache>
                <c:formatCode>General</c:formatCode>
                <c:ptCount val="5"/>
                <c:pt idx="0">
                  <c:v>0.53591446079632776</c:v>
                </c:pt>
                <c:pt idx="1">
                  <c:v>0.18718514906711023</c:v>
                </c:pt>
                <c:pt idx="2">
                  <c:v>0.15428671126987742</c:v>
                </c:pt>
                <c:pt idx="3">
                  <c:v>0.11923581654717222</c:v>
                </c:pt>
                <c:pt idx="4">
                  <c:v>3.3778623195124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Bic</c:v>
                </c:pt>
                <c:pt idx="2">
                  <c:v>Equate</c:v>
                </c:pt>
                <c:pt idx="3">
                  <c:v>Schick</c:v>
                </c:pt>
                <c:pt idx="4">
                  <c:v>Others</c:v>
                </c:pt>
              </c:strCache>
            </c:strRef>
          </c:cat>
          <c:val>
            <c:numRef>
              <c:f>Sheet1!$D$2:$D$6</c:f>
              <c:numCache>
                <c:formatCode>General</c:formatCode>
                <c:ptCount val="5"/>
                <c:pt idx="0">
                  <c:v>0.75884511303778013</c:v>
                </c:pt>
                <c:pt idx="1">
                  <c:v>1.430391263489547</c:v>
                </c:pt>
                <c:pt idx="2">
                  <c:v>0.88521777313784356</c:v>
                </c:pt>
                <c:pt idx="3">
                  <c:v>1.3425884173888283</c:v>
                </c:pt>
                <c:pt idx="4">
                  <c:v>8.55984069025212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845903530310278</c:v>
                </c:pt>
                <c:pt idx="1">
                  <c:v>0.20224109939179227</c:v>
                </c:pt>
                <c:pt idx="2">
                  <c:v>5.1430100632834493E-2</c:v>
                </c:pt>
                <c:pt idx="3">
                  <c:v>4.5583978383688155E-2</c:v>
                </c:pt>
                <c:pt idx="4">
                  <c:v>2.9879671567027418E-2</c:v>
                </c:pt>
                <c:pt idx="5">
                  <c:v>2.1574179939746557E-2</c:v>
                </c:pt>
                <c:pt idx="6">
                  <c:v>8.319347818083350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60724196580431455</c:v>
                </c:pt>
                <c:pt idx="1">
                  <c:v>0.18248142511861065</c:v>
                </c:pt>
                <c:pt idx="2">
                  <c:v>7.6179393071345428E-2</c:v>
                </c:pt>
                <c:pt idx="3">
                  <c:v>6.8078059260585425E-2</c:v>
                </c:pt>
                <c:pt idx="4">
                  <c:v>2.7168561453764204E-2</c:v>
                </c:pt>
                <c:pt idx="5">
                  <c:v>3.3613821502103652E-2</c:v>
                </c:pt>
                <c:pt idx="6">
                  <c:v>5.23677378927580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0.93643843750357714</c:v>
                </c:pt>
                <c:pt idx="1">
                  <c:v>0.90229644551673382</c:v>
                </c:pt>
                <c:pt idx="2">
                  <c:v>1.4812219329532141</c:v>
                </c:pt>
                <c:pt idx="3">
                  <c:v>1.4934646267063558</c:v>
                </c:pt>
                <c:pt idx="4">
                  <c:v>0.90926573248365428</c:v>
                </c:pt>
                <c:pt idx="5">
                  <c:v>1.5580579005080148</c:v>
                </c:pt>
                <c:pt idx="6">
                  <c:v>6.29469268960349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B$2:$B$8</c:f>
              <c:numCache>
                <c:formatCode>General</c:formatCode>
                <c:ptCount val="7"/>
                <c:pt idx="0">
                  <c:v>0.68783737576687554</c:v>
                </c:pt>
                <c:pt idx="1">
                  <c:v>0.18097371641078247</c:v>
                </c:pt>
                <c:pt idx="2">
                  <c:v>4.2128204910829088E-2</c:v>
                </c:pt>
                <c:pt idx="3">
                  <c:v>4.1668856730277419E-2</c:v>
                </c:pt>
                <c:pt idx="4">
                  <c:v>2.5361219201347384E-2</c:v>
                </c:pt>
                <c:pt idx="5">
                  <c:v>2.1685868579228024E-2</c:v>
                </c:pt>
                <c:pt idx="6">
                  <c:v>3.447584006601276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C$2:$C$8</c:f>
              <c:numCache>
                <c:formatCode>General</c:formatCode>
                <c:ptCount val="7"/>
                <c:pt idx="0">
                  <c:v>0.61141304347826086</c:v>
                </c:pt>
                <c:pt idx="1">
                  <c:v>0.18858695652173912</c:v>
                </c:pt>
                <c:pt idx="2">
                  <c:v>7.9347826086956522E-2</c:v>
                </c:pt>
                <c:pt idx="3">
                  <c:v>5.0543478260869572E-2</c:v>
                </c:pt>
                <c:pt idx="4">
                  <c:v>2.9347826086956526E-2</c:v>
                </c:pt>
                <c:pt idx="5">
                  <c:v>3.8043478260869568E-2</c:v>
                </c:pt>
                <c:pt idx="6">
                  <c:v>2.7173913043478264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Dollar Shave Club</c:v>
                </c:pt>
                <c:pt idx="3">
                  <c:v>Schick</c:v>
                </c:pt>
                <c:pt idx="4">
                  <c:v>Van Der Hagen</c:v>
                </c:pt>
                <c:pt idx="5">
                  <c:v>Equate</c:v>
                </c:pt>
                <c:pt idx="6">
                  <c:v>Others</c:v>
                </c:pt>
              </c:strCache>
            </c:strRef>
          </c:cat>
          <c:val>
            <c:numRef>
              <c:f>Sheet1!$D$2:$D$8</c:f>
              <c:numCache>
                <c:formatCode>General</c:formatCode>
                <c:ptCount val="7"/>
                <c:pt idx="0">
                  <c:v>0.88889185877198296</c:v>
                </c:pt>
                <c:pt idx="1">
                  <c:v>1.0420682089197735</c:v>
                </c:pt>
                <c:pt idx="2">
                  <c:v>1.8834846216426397</c:v>
                </c:pt>
                <c:pt idx="3">
                  <c:v>1.2129797221948659</c:v>
                </c:pt>
                <c:pt idx="4">
                  <c:v>1.1571930297971378</c:v>
                </c:pt>
                <c:pt idx="5">
                  <c:v>1.7542981099364314</c:v>
                </c:pt>
                <c:pt idx="6">
                  <c:v>7.88201621525302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Dollar Shave Club</c:v>
                </c:pt>
                <c:pt idx="3">
                  <c:v>Schick</c:v>
                </c:pt>
                <c:pt idx="4">
                  <c:v>Equate</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B$2:$B$8</c:f>
              <c:numCache>
                <c:formatCode>General</c:formatCode>
                <c:ptCount val="7"/>
                <c:pt idx="0">
                  <c:v>0.64471932029990753</c:v>
                </c:pt>
                <c:pt idx="1">
                  <c:v>0.20469757345628167</c:v>
                </c:pt>
                <c:pt idx="2">
                  <c:v>5.1987613451472806E-2</c:v>
                </c:pt>
                <c:pt idx="3">
                  <c:v>4.4998435929086082E-2</c:v>
                </c:pt>
                <c:pt idx="4">
                  <c:v>3.1729960754940188E-2</c:v>
                </c:pt>
                <c:pt idx="5">
                  <c:v>2.095429977545837E-2</c:v>
                </c:pt>
                <c:pt idx="6">
                  <c:v>9.1279633285338169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C$2:$C$8</c:f>
              <c:numCache>
                <c:formatCode>General</c:formatCode>
                <c:ptCount val="7"/>
                <c:pt idx="0">
                  <c:v>0.60806794055201707</c:v>
                </c:pt>
                <c:pt idx="1">
                  <c:v>0.18174097664543523</c:v>
                </c:pt>
                <c:pt idx="2">
                  <c:v>7.8131634819532919E-2</c:v>
                </c:pt>
                <c:pt idx="3">
                  <c:v>6.6242038216560523E-2</c:v>
                </c:pt>
                <c:pt idx="4">
                  <c:v>2.7600849256900217E-2</c:v>
                </c:pt>
                <c:pt idx="5">
                  <c:v>3.2696390658174104E-2</c:v>
                </c:pt>
                <c:pt idx="6">
                  <c:v>5.520169851380043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Van Der Hagen</c:v>
                </c:pt>
                <c:pt idx="5">
                  <c:v>Equate</c:v>
                </c:pt>
                <c:pt idx="6">
                  <c:v>Others</c:v>
                </c:pt>
              </c:strCache>
            </c:strRef>
          </c:cat>
          <c:val>
            <c:numRef>
              <c:f>Sheet1!$D$2:$D$8</c:f>
              <c:numCache>
                <c:formatCode>General</c:formatCode>
                <c:ptCount val="7"/>
                <c:pt idx="0">
                  <c:v>0.94315141706806438</c:v>
                </c:pt>
                <c:pt idx="1">
                  <c:v>0.88785115317573904</c:v>
                </c:pt>
                <c:pt idx="2">
                  <c:v>1.5028894313924206</c:v>
                </c:pt>
                <c:pt idx="3">
                  <c:v>1.4720964595514532</c:v>
                </c:pt>
                <c:pt idx="4">
                  <c:v>0.86986710982940341</c:v>
                </c:pt>
                <c:pt idx="5">
                  <c:v>1.5603666554617133</c:v>
                </c:pt>
                <c:pt idx="6">
                  <c:v>6.04753727934479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709939318599438</c:v>
                </c:pt>
                <c:pt idx="1">
                  <c:v>0.24341488493153948</c:v>
                </c:pt>
                <c:pt idx="2">
                  <c:v>4.6230713935869937E-2</c:v>
                </c:pt>
                <c:pt idx="3">
                  <c:v>4.0291297693214836E-2</c:v>
                </c:pt>
                <c:pt idx="4">
                  <c:v>3.9220718455250554E-2</c:v>
                </c:pt>
                <c:pt idx="5">
                  <c:v>1.3513482367956495E-2</c:v>
                </c:pt>
                <c:pt idx="6">
                  <c:v>2.2950943017434677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5600461893764441</c:v>
                </c:pt>
                <c:pt idx="1">
                  <c:v>0.14124501364686123</c:v>
                </c:pt>
                <c:pt idx="2">
                  <c:v>6.7656938904052083E-2</c:v>
                </c:pt>
                <c:pt idx="3">
                  <c:v>7.4742809153894613E-2</c:v>
                </c:pt>
                <c:pt idx="4">
                  <c:v>0.11116943103086292</c:v>
                </c:pt>
                <c:pt idx="5">
                  <c:v>4.5821960948981742E-2</c:v>
                </c:pt>
                <c:pt idx="6">
                  <c:v>3.35922737770312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0.90099686545966839</c:v>
                </c:pt>
                <c:pt idx="1">
                  <c:v>0.58026448828955735</c:v>
                </c:pt>
                <c:pt idx="2">
                  <c:v>1.4634629912465564</c:v>
                </c:pt>
                <c:pt idx="3">
                  <c:v>1.855060855150404</c:v>
                </c:pt>
                <c:pt idx="4">
                  <c:v>2.8344567720681426</c:v>
                </c:pt>
                <c:pt idx="5">
                  <c:v>3.3908329253187848</c:v>
                </c:pt>
                <c:pt idx="6">
                  <c:v>14.63655491258591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B$2:$B$3</c:f>
              <c:numCache>
                <c:formatCode>General</c:formatCode>
                <c:ptCount val="2"/>
                <c:pt idx="0">
                  <c:v>0.99999980052238835</c:v>
                </c:pt>
                <c:pt idx="1">
                  <c:v>1.9947761165745713E-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Others</c:v>
                </c:pt>
              </c:strCache>
            </c:strRef>
          </c:cat>
          <c:val>
            <c:numRef>
              <c:f>Sheet1!$D$2:$D$3</c:f>
              <c:numCache>
                <c:formatCode>General</c:formatCode>
                <c:ptCount val="2"/>
                <c:pt idx="0">
                  <c:v>1.0000001994776515</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B$2:$B$4</c:f>
              <c:numCache>
                <c:formatCode>General</c:formatCode>
                <c:ptCount val="3"/>
                <c:pt idx="0">
                  <c:v>0.89179053563435384</c:v>
                </c:pt>
                <c:pt idx="1">
                  <c:v>0.10329115673335629</c:v>
                </c:pt>
                <c:pt idx="2">
                  <c:v>4.918185474731092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C$2:$C$4</c:f>
              <c:numCache>
                <c:formatCode>General</c:formatCode>
                <c:ptCount val="3"/>
                <c:pt idx="0">
                  <c:v>0.78239608801955984</c:v>
                </c:pt>
                <c:pt idx="1">
                  <c:v>0.20537897310513448</c:v>
                </c:pt>
                <c:pt idx="2">
                  <c:v>1.22249388753056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Others</c:v>
                </c:pt>
              </c:strCache>
            </c:strRef>
          </c:cat>
          <c:val>
            <c:numRef>
              <c:f>Sheet1!$D$2:$D$4</c:f>
              <c:numCache>
                <c:formatCode>General</c:formatCode>
                <c:ptCount val="3"/>
                <c:pt idx="0">
                  <c:v>0.87733167908428311</c:v>
                </c:pt>
                <c:pt idx="1">
                  <c:v>1.9883500156292713</c:v>
                </c:pt>
                <c:pt idx="2">
                  <c:v>2.48566040018530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B$2:$B$8</c:f>
              <c:numCache>
                <c:formatCode>General</c:formatCode>
                <c:ptCount val="7"/>
                <c:pt idx="0">
                  <c:v>0.65871033624482334</c:v>
                </c:pt>
                <c:pt idx="1">
                  <c:v>0.21478330524000885</c:v>
                </c:pt>
                <c:pt idx="2">
                  <c:v>4.1854895900275232E-2</c:v>
                </c:pt>
                <c:pt idx="3">
                  <c:v>3.7673563884695019E-2</c:v>
                </c:pt>
                <c:pt idx="4">
                  <c:v>3.2889977513461635E-2</c:v>
                </c:pt>
                <c:pt idx="5">
                  <c:v>1.3991703065241055E-2</c:v>
                </c:pt>
                <c:pt idx="6">
                  <c:v>9.6218151494885599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C$2:$C$8</c:f>
              <c:numCache>
                <c:formatCode>General</c:formatCode>
                <c:ptCount val="7"/>
                <c:pt idx="0">
                  <c:v>0.56864864864864884</c:v>
                </c:pt>
                <c:pt idx="1">
                  <c:v>0.14216216216216215</c:v>
                </c:pt>
                <c:pt idx="2">
                  <c:v>6.2162162162162173E-2</c:v>
                </c:pt>
                <c:pt idx="3">
                  <c:v>0.11027027027027027</c:v>
                </c:pt>
                <c:pt idx="4">
                  <c:v>7.1351351351351344E-2</c:v>
                </c:pt>
                <c:pt idx="5">
                  <c:v>4.3243243243243246E-2</c:v>
                </c:pt>
                <c:pt idx="6">
                  <c:v>2.162162162162162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Equate</c:v>
                </c:pt>
                <c:pt idx="4">
                  <c:v>Dollar Shave Club</c:v>
                </c:pt>
                <c:pt idx="5">
                  <c:v>Van Der Hagen</c:v>
                </c:pt>
                <c:pt idx="6">
                  <c:v>Others</c:v>
                </c:pt>
              </c:strCache>
            </c:strRef>
          </c:cat>
          <c:val>
            <c:numRef>
              <c:f>Sheet1!$D$2:$D$8</c:f>
              <c:numCache>
                <c:formatCode>General</c:formatCode>
                <c:ptCount val="7"/>
                <c:pt idx="0">
                  <c:v>0.86327573344362818</c:v>
                </c:pt>
                <c:pt idx="1">
                  <c:v>0.66188646274580576</c:v>
                </c:pt>
                <c:pt idx="2">
                  <c:v>1.4851825772132288</c:v>
                </c:pt>
                <c:pt idx="3">
                  <c:v>2.9269933316573709</c:v>
                </c:pt>
                <c:pt idx="4">
                  <c:v>2.1693949569332402</c:v>
                </c:pt>
                <c:pt idx="5">
                  <c:v>3.0906347169895598</c:v>
                </c:pt>
                <c:pt idx="6">
                  <c:v>22.4714581247914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75640468725468E-2</c:v>
                </c:pt>
                <c:pt idx="5">
                  <c:v>8.4242892656404748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C$2:$C$7</c:f>
              <c:numCache>
                <c:formatCode>General</c:formatCode>
                <c:ptCount val="6"/>
                <c:pt idx="0">
                  <c:v>0.53740875912408748</c:v>
                </c:pt>
                <c:pt idx="1">
                  <c:v>0.18521897810218974</c:v>
                </c:pt>
                <c:pt idx="2">
                  <c:v>0.13321167883211676</c:v>
                </c:pt>
                <c:pt idx="3">
                  <c:v>8.0291970802919707E-2</c:v>
                </c:pt>
                <c:pt idx="4">
                  <c:v>5.2007299270072992E-2</c:v>
                </c:pt>
                <c:pt idx="5">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Equate</c:v>
                </c:pt>
                <c:pt idx="3">
                  <c:v>Dollar Shave Club</c:v>
                </c:pt>
                <c:pt idx="4">
                  <c:v>Schick</c:v>
                </c:pt>
                <c:pt idx="5">
                  <c:v>Others</c:v>
                </c:pt>
              </c:strCache>
            </c:strRef>
          </c:cat>
          <c:val>
            <c:numRef>
              <c:f>Sheet1!$D$2:$D$7</c:f>
              <c:numCache>
                <c:formatCode>General</c:formatCode>
                <c:ptCount val="6"/>
                <c:pt idx="0">
                  <c:v>0.85891260967387129</c:v>
                </c:pt>
                <c:pt idx="1">
                  <c:v>0.76799349253916493</c:v>
                </c:pt>
                <c:pt idx="2">
                  <c:v>2.7253861180452104</c:v>
                </c:pt>
                <c:pt idx="3">
                  <c:v>1.8480771660000141</c:v>
                </c:pt>
                <c:pt idx="4">
                  <c:v>1.3009747601357473</c:v>
                </c:pt>
                <c:pt idx="5">
                  <c:v>14.079898605798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B$2:$B$8</c:f>
              <c:numCache>
                <c:formatCode>General</c:formatCode>
                <c:ptCount val="7"/>
                <c:pt idx="0">
                  <c:v>0.6134744192881163</c:v>
                </c:pt>
                <c:pt idx="1">
                  <c:v>0.24568657206703032</c:v>
                </c:pt>
                <c:pt idx="2">
                  <c:v>4.6936934837158432E-2</c:v>
                </c:pt>
                <c:pt idx="3">
                  <c:v>4.065174855644748E-2</c:v>
                </c:pt>
                <c:pt idx="4">
                  <c:v>3.8749661801431017E-2</c:v>
                </c:pt>
                <c:pt idx="5">
                  <c:v>1.4247753589506092E-2</c:v>
                </c:pt>
                <c:pt idx="6">
                  <c:v>2.529098603103319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C$2:$C$8</c:f>
              <c:numCache>
                <c:formatCode>General</c:formatCode>
                <c:ptCount val="7"/>
                <c:pt idx="0">
                  <c:v>0.55572519083969474</c:v>
                </c:pt>
                <c:pt idx="1">
                  <c:v>0.13944020356234099</c:v>
                </c:pt>
                <c:pt idx="2">
                  <c:v>6.8702290076335881E-2</c:v>
                </c:pt>
                <c:pt idx="3">
                  <c:v>7.4809160305343514E-2</c:v>
                </c:pt>
                <c:pt idx="4">
                  <c:v>0.11043256997455471</c:v>
                </c:pt>
                <c:pt idx="5">
                  <c:v>4.7328244274809167E-2</c:v>
                </c:pt>
                <c:pt idx="6">
                  <c:v>3.5623409669211202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illette</c:v>
                </c:pt>
                <c:pt idx="1">
                  <c:v>Harry's</c:v>
                </c:pt>
                <c:pt idx="2">
                  <c:v>Schick</c:v>
                </c:pt>
                <c:pt idx="3">
                  <c:v>Dollar Shave Club</c:v>
                </c:pt>
                <c:pt idx="4">
                  <c:v>Equate</c:v>
                </c:pt>
                <c:pt idx="5">
                  <c:v>Van Der Hagen</c:v>
                </c:pt>
                <c:pt idx="6">
                  <c:v>Others</c:v>
                </c:pt>
              </c:strCache>
            </c:strRef>
          </c:cat>
          <c:val>
            <c:numRef>
              <c:f>Sheet1!$D$2:$D$8</c:f>
              <c:numCache>
                <c:formatCode>General</c:formatCode>
                <c:ptCount val="7"/>
                <c:pt idx="0">
                  <c:v>0.9058653032094891</c:v>
                </c:pt>
                <c:pt idx="1">
                  <c:v>0.56755321379264356</c:v>
                </c:pt>
                <c:pt idx="2">
                  <c:v>1.4637148828463022</c:v>
                </c:pt>
                <c:pt idx="3">
                  <c:v>1.8402445887774384</c:v>
                </c:pt>
                <c:pt idx="4">
                  <c:v>2.8498976466028525</c:v>
                </c:pt>
                <c:pt idx="5">
                  <c:v>3.3218039586021386</c:v>
                </c:pt>
                <c:pt idx="6">
                  <c:v>14.0854174785829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B$2:$B$8</c:f>
              <c:numCache>
                <c:formatCode>General</c:formatCode>
                <c:ptCount val="7"/>
                <c:pt idx="0">
                  <c:v>0.60821345079648781</c:v>
                </c:pt>
                <c:pt idx="1">
                  <c:v>0.11716739610818547</c:v>
                </c:pt>
                <c:pt idx="2">
                  <c:v>0.10950056534360224</c:v>
                </c:pt>
                <c:pt idx="3">
                  <c:v>6.9469275220367055E-2</c:v>
                </c:pt>
                <c:pt idx="4">
                  <c:v>6.4530133515115273E-2</c:v>
                </c:pt>
                <c:pt idx="5">
                  <c:v>2.0756485770872024E-2</c:v>
                </c:pt>
                <c:pt idx="6">
                  <c:v>1.036176230340178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C$2:$C$8</c:f>
              <c:numCache>
                <c:formatCode>General</c:formatCode>
                <c:ptCount val="7"/>
                <c:pt idx="0">
                  <c:v>0.47198762935648869</c:v>
                </c:pt>
                <c:pt idx="1">
                  <c:v>8.5523968121803254E-2</c:v>
                </c:pt>
                <c:pt idx="2">
                  <c:v>0.19745450220054717</c:v>
                </c:pt>
                <c:pt idx="3">
                  <c:v>0.10074937552039966</c:v>
                </c:pt>
                <c:pt idx="4">
                  <c:v>9.5277744736529085E-2</c:v>
                </c:pt>
                <c:pt idx="5">
                  <c:v>3.3067681693826574E-2</c:v>
                </c:pt>
                <c:pt idx="6">
                  <c:v>1.593909837040561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Universal Beauty Prods Inc</c:v>
                </c:pt>
              </c:strCache>
            </c:strRef>
          </c:cat>
          <c:val>
            <c:numRef>
              <c:f>Sheet1!$D$2:$D$8</c:f>
              <c:numCache>
                <c:formatCode>General</c:formatCode>
                <c:ptCount val="7"/>
                <c:pt idx="0">
                  <c:v>0.77602300432257099</c:v>
                </c:pt>
                <c:pt idx="1">
                  <c:v>0.72992974976447766</c:v>
                </c:pt>
                <c:pt idx="2">
                  <c:v>1.803228153032397</c:v>
                </c:pt>
                <c:pt idx="3">
                  <c:v>1.4502724434767369</c:v>
                </c:pt>
                <c:pt idx="4">
                  <c:v>1.4764845436777474</c:v>
                </c:pt>
                <c:pt idx="5">
                  <c:v>1.5931252553469859</c:v>
                </c:pt>
                <c:pt idx="6">
                  <c:v>1.53826134046452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B$2:$B$8</c:f>
              <c:numCache>
                <c:formatCode>General</c:formatCode>
                <c:ptCount val="7"/>
                <c:pt idx="0">
                  <c:v>0.57215875792109039</c:v>
                </c:pt>
                <c:pt idx="1">
                  <c:v>0.12903402387555485</c:v>
                </c:pt>
                <c:pt idx="2">
                  <c:v>0.11338439265590908</c:v>
                </c:pt>
                <c:pt idx="3">
                  <c:v>8.6360836984151618E-2</c:v>
                </c:pt>
                <c:pt idx="4">
                  <c:v>6.9862254030851598E-2</c:v>
                </c:pt>
                <c:pt idx="5">
                  <c:v>2.8475386707381922E-2</c:v>
                </c:pt>
                <c:pt idx="6">
                  <c:v>7.238682955129609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C$2:$C$8</c:f>
              <c:numCache>
                <c:formatCode>General</c:formatCode>
                <c:ptCount val="7"/>
                <c:pt idx="0">
                  <c:v>0.43537820131030386</c:v>
                </c:pt>
                <c:pt idx="1">
                  <c:v>8.7750645225332546E-2</c:v>
                </c:pt>
                <c:pt idx="2">
                  <c:v>0.19039110581695451</c:v>
                </c:pt>
                <c:pt idx="3">
                  <c:v>0.14036132618622196</c:v>
                </c:pt>
                <c:pt idx="4">
                  <c:v>0.10462576930712728</c:v>
                </c:pt>
                <c:pt idx="5">
                  <c:v>3.7720865594599959E-2</c:v>
                </c:pt>
                <c:pt idx="6">
                  <c:v>3.772086559459996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Pbg</c:v>
                </c:pt>
                <c:pt idx="4">
                  <c:v>Edgewell Personal Care</c:v>
                </c:pt>
                <c:pt idx="5">
                  <c:v>Unilever</c:v>
                </c:pt>
                <c:pt idx="6">
                  <c:v>Others</c:v>
                </c:pt>
              </c:strCache>
            </c:strRef>
          </c:cat>
          <c:val>
            <c:numRef>
              <c:f>Sheet1!$D$2:$D$8</c:f>
              <c:numCache>
                <c:formatCode>General</c:formatCode>
                <c:ptCount val="7"/>
                <c:pt idx="0">
                  <c:v>0.76093950373534136</c:v>
                </c:pt>
                <c:pt idx="1">
                  <c:v>0.68005819387576794</c:v>
                </c:pt>
                <c:pt idx="2">
                  <c:v>1.6791650187229907</c:v>
                </c:pt>
                <c:pt idx="3">
                  <c:v>1.6252890903776229</c:v>
                </c:pt>
                <c:pt idx="4">
                  <c:v>1.4976008254890245</c:v>
                </c:pt>
                <c:pt idx="5">
                  <c:v>1.3246831722506951</c:v>
                </c:pt>
                <c:pt idx="6">
                  <c:v>5.21101225574046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B$2:$B$9</c:f>
              <c:numCache>
                <c:formatCode>General</c:formatCode>
                <c:ptCount val="8"/>
                <c:pt idx="0">
                  <c:v>0.5609059526671718</c:v>
                </c:pt>
                <c:pt idx="1">
                  <c:v>0.14437866093188914</c:v>
                </c:pt>
                <c:pt idx="2">
                  <c:v>0.11684652230384927</c:v>
                </c:pt>
                <c:pt idx="3">
                  <c:v>6.9762997627676876E-2</c:v>
                </c:pt>
                <c:pt idx="4">
                  <c:v>6.904104765254232E-2</c:v>
                </c:pt>
                <c:pt idx="5">
                  <c:v>2.6237580678757276E-2</c:v>
                </c:pt>
                <c:pt idx="6">
                  <c:v>1.2821323280886886E-2</c:v>
                </c:pt>
                <c:pt idx="7">
                  <c:v>5.3517590955251628E-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C$2:$C$9</c:f>
              <c:numCache>
                <c:formatCode>General</c:formatCode>
                <c:ptCount val="8"/>
                <c:pt idx="0">
                  <c:v>0.4543415571932074</c:v>
                </c:pt>
                <c:pt idx="1">
                  <c:v>8.8112784363985897E-2</c:v>
                </c:pt>
                <c:pt idx="2">
                  <c:v>0.20591690697426038</c:v>
                </c:pt>
                <c:pt idx="3">
                  <c:v>9.3452953113318374E-2</c:v>
                </c:pt>
                <c:pt idx="4">
                  <c:v>0.10893944248638256</c:v>
                </c:pt>
                <c:pt idx="5">
                  <c:v>3.2361422620954816E-2</c:v>
                </c:pt>
                <c:pt idx="6">
                  <c:v>1.6874933247890633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Pbg</c:v>
                </c:pt>
                <c:pt idx="4">
                  <c:v>Edgewell Personal Care</c:v>
                </c:pt>
                <c:pt idx="5">
                  <c:v>Unilever</c:v>
                </c:pt>
                <c:pt idx="6">
                  <c:v>Universal Beauty Prods Inc</c:v>
                </c:pt>
                <c:pt idx="7">
                  <c:v>Others</c:v>
                </c:pt>
              </c:strCache>
            </c:strRef>
          </c:cat>
          <c:val>
            <c:numRef>
              <c:f>Sheet1!$D$2:$D$9</c:f>
              <c:numCache>
                <c:formatCode>General</c:formatCode>
                <c:ptCount val="8"/>
                <c:pt idx="0">
                  <c:v>0.81001379114049599</c:v>
                </c:pt>
                <c:pt idx="1">
                  <c:v>0.6102895247487663</c:v>
                </c:pt>
                <c:pt idx="2">
                  <c:v>1.7622852859821645</c:v>
                </c:pt>
                <c:pt idx="3">
                  <c:v>1.3395776599519722</c:v>
                </c:pt>
                <c:pt idx="4">
                  <c:v>1.5778938210010063</c:v>
                </c:pt>
                <c:pt idx="5">
                  <c:v>1.2333996421840672</c:v>
                </c:pt>
                <c:pt idx="6">
                  <c:v>1.3161615909838713</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662833609349229</c:v>
                </c:pt>
                <c:pt idx="1">
                  <c:v>0.20956447897778954</c:v>
                </c:pt>
                <c:pt idx="2">
                  <c:v>8.255687302641837E-2</c:v>
                </c:pt>
                <c:pt idx="3">
                  <c:v>4.4556517922937348E-2</c:v>
                </c:pt>
                <c:pt idx="4">
                  <c:v>3.8733231796975069E-2</c:v>
                </c:pt>
                <c:pt idx="5">
                  <c:v>3.0087863071349849E-2</c:v>
                </c:pt>
                <c:pt idx="6">
                  <c:v>1.786491388394575E-2</c:v>
                </c:pt>
                <c:pt idx="7">
                  <c:v>3.0351762541116091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9405942618760357</c:v>
                </c:pt>
                <c:pt idx="1">
                  <c:v>0.13840207766712337</c:v>
                </c:pt>
                <c:pt idx="2">
                  <c:v>0.1535142430625141</c:v>
                </c:pt>
                <c:pt idx="3">
                  <c:v>6.4865749166683723E-2</c:v>
                </c:pt>
                <c:pt idx="4">
                  <c:v>6.0223717306394552E-2</c:v>
                </c:pt>
                <c:pt idx="5">
                  <c:v>5.8669556859777927E-2</c:v>
                </c:pt>
                <c:pt idx="6">
                  <c:v>3.0265229749902867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0.85680740134057287</c:v>
                </c:pt>
                <c:pt idx="1">
                  <c:v>0.66042717898672021</c:v>
                </c:pt>
                <c:pt idx="2">
                  <c:v>1.8594968224316009</c:v>
                </c:pt>
                <c:pt idx="3">
                  <c:v>1.4558083124644563</c:v>
                </c:pt>
                <c:pt idx="4">
                  <c:v>1.5548332662263884</c:v>
                </c:pt>
                <c:pt idx="5">
                  <c:v>1.9499409685775932</c:v>
                </c:pt>
                <c:pt idx="6">
                  <c:v>1.6941156249905365</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9345956864738</c:v>
                </c:pt>
                <c:pt idx="1">
                  <c:v>6.375798069195818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1.000006540474130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B$2:$B$11</c:f>
              <c:numCache>
                <c:formatCode>General</c:formatCode>
                <c:ptCount val="10"/>
                <c:pt idx="0">
                  <c:v>0.60821345079648781</c:v>
                </c:pt>
                <c:pt idx="1">
                  <c:v>0.11716739610818547</c:v>
                </c:pt>
                <c:pt idx="2">
                  <c:v>9.8847156376664469E-2</c:v>
                </c:pt>
                <c:pt idx="3">
                  <c:v>6.9469275220367055E-2</c:v>
                </c:pt>
                <c:pt idx="4">
                  <c:v>6.4424733429131145E-2</c:v>
                </c:pt>
                <c:pt idx="5">
                  <c:v>2.0756485770872024E-2</c:v>
                </c:pt>
                <c:pt idx="6">
                  <c:v>1.0653408966937771E-2</c:v>
                </c:pt>
                <c:pt idx="7">
                  <c:v>1.0361762303401785E-2</c:v>
                </c:pt>
                <c:pt idx="8">
                  <c:v>1.0528371823807828E-4</c:v>
                </c:pt>
                <c:pt idx="9">
                  <c:v>1.0473097144434425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C$2:$C$11</c:f>
              <c:numCache>
                <c:formatCode>General</c:formatCode>
                <c:ptCount val="10"/>
                <c:pt idx="0">
                  <c:v>0.47198762935648869</c:v>
                </c:pt>
                <c:pt idx="1">
                  <c:v>8.5523968121803254E-2</c:v>
                </c:pt>
                <c:pt idx="2">
                  <c:v>0.17961222790531697</c:v>
                </c:pt>
                <c:pt idx="3">
                  <c:v>0.10074937552039966</c:v>
                </c:pt>
                <c:pt idx="4">
                  <c:v>9.4207208278815263E-2</c:v>
                </c:pt>
                <c:pt idx="5">
                  <c:v>3.3067681693826574E-2</c:v>
                </c:pt>
                <c:pt idx="6">
                  <c:v>1.7842274295230168E-2</c:v>
                </c:pt>
                <c:pt idx="7">
                  <c:v>1.5939098370405618E-2</c:v>
                </c:pt>
                <c:pt idx="8">
                  <c:v>1.07053645771381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Comfort 3</c:v>
                </c:pt>
                <c:pt idx="7">
                  <c:v>Van Der Hagen</c:v>
                </c:pt>
                <c:pt idx="8">
                  <c:v>Cremo</c:v>
                </c:pt>
                <c:pt idx="9">
                  <c:v>Others</c:v>
                </c:pt>
              </c:strCache>
            </c:strRef>
          </c:cat>
          <c:val>
            <c:numRef>
              <c:f>Sheet1!$D$2:$D$11</c:f>
              <c:numCache>
                <c:formatCode>General</c:formatCode>
                <c:ptCount val="10"/>
                <c:pt idx="0">
                  <c:v>0.77602300432257099</c:v>
                </c:pt>
                <c:pt idx="1">
                  <c:v>0.72992974976447766</c:v>
                </c:pt>
                <c:pt idx="2">
                  <c:v>1.8170702576500144</c:v>
                </c:pt>
                <c:pt idx="3">
                  <c:v>1.4502724434767369</c:v>
                </c:pt>
                <c:pt idx="4">
                  <c:v>1.4622832453384631</c:v>
                </c:pt>
                <c:pt idx="5">
                  <c:v>1.5931252553469859</c:v>
                </c:pt>
                <c:pt idx="6">
                  <c:v>1.674794833334815</c:v>
                </c:pt>
                <c:pt idx="7">
                  <c:v>1.5382613404645256</c:v>
                </c:pt>
                <c:pt idx="8">
                  <c:v>10.168110279815572</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B$2:$B$8</c:f>
              <c:numCache>
                <c:formatCode>General</c:formatCode>
                <c:ptCount val="7"/>
                <c:pt idx="0">
                  <c:v>0.6182635657766159</c:v>
                </c:pt>
                <c:pt idx="1">
                  <c:v>0.18722367556157865</c:v>
                </c:pt>
                <c:pt idx="2">
                  <c:v>7.6076622349415271E-2</c:v>
                </c:pt>
                <c:pt idx="3">
                  <c:v>3.8778974255364349E-2</c:v>
                </c:pt>
                <c:pt idx="4">
                  <c:v>3.3453458305565988E-2</c:v>
                </c:pt>
                <c:pt idx="5">
                  <c:v>2.9502036126015829E-2</c:v>
                </c:pt>
                <c:pt idx="6">
                  <c:v>1.670016721594938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C$2:$C$8</c:f>
              <c:numCache>
                <c:formatCode>General</c:formatCode>
                <c:ptCount val="7"/>
                <c:pt idx="0">
                  <c:v>0.505338904363974</c:v>
                </c:pt>
                <c:pt idx="1">
                  <c:v>0.14159702878365829</c:v>
                </c:pt>
                <c:pt idx="2">
                  <c:v>0.14345403899721446</c:v>
                </c:pt>
                <c:pt idx="3">
                  <c:v>5.0371402042711226E-2</c:v>
                </c:pt>
                <c:pt idx="4">
                  <c:v>6.4531104921077068E-2</c:v>
                </c:pt>
                <c:pt idx="5">
                  <c:v>6.3602599814298985E-2</c:v>
                </c:pt>
                <c:pt idx="6">
                  <c:v>3.110492107706592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Edgewell Personal Care</c:v>
                </c:pt>
                <c:pt idx="4">
                  <c:v>Unilever</c:v>
                </c:pt>
                <c:pt idx="5">
                  <c:v>Pbg</c:v>
                </c:pt>
                <c:pt idx="6">
                  <c:v>Universal Beauty Prods Inc</c:v>
                </c:pt>
              </c:strCache>
            </c:strRef>
          </c:cat>
          <c:val>
            <c:numRef>
              <c:f>Sheet1!$D$2:$D$8</c:f>
              <c:numCache>
                <c:formatCode>General</c:formatCode>
                <c:ptCount val="7"/>
                <c:pt idx="0">
                  <c:v>0.81735190675388658</c:v>
                </c:pt>
                <c:pt idx="1">
                  <c:v>0.75629873390177316</c:v>
                </c:pt>
                <c:pt idx="2">
                  <c:v>1.885652051406</c:v>
                </c:pt>
                <c:pt idx="3">
                  <c:v>1.2989359056020746</c:v>
                </c:pt>
                <c:pt idx="4">
                  <c:v>1.9289815818635523</c:v>
                </c:pt>
                <c:pt idx="5">
                  <c:v>2.1558715318029251</c:v>
                </c:pt>
                <c:pt idx="6">
                  <c:v>1.8625514747756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B$2:$B$8</c:f>
              <c:numCache>
                <c:formatCode>General</c:formatCode>
                <c:ptCount val="7"/>
                <c:pt idx="0">
                  <c:v>0.59012128868399372</c:v>
                </c:pt>
                <c:pt idx="1">
                  <c:v>0.20514442686203471</c:v>
                </c:pt>
                <c:pt idx="2">
                  <c:v>7.6486299352424139E-2</c:v>
                </c:pt>
                <c:pt idx="3">
                  <c:v>4.56218420807529E-2</c:v>
                </c:pt>
                <c:pt idx="4">
                  <c:v>4.1422314772833112E-2</c:v>
                </c:pt>
                <c:pt idx="5">
                  <c:v>4.0043314347797926E-2</c:v>
                </c:pt>
                <c:pt idx="6">
                  <c:v>1.159745621877539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C$2:$C$8</c:f>
              <c:numCache>
                <c:formatCode>General</c:formatCode>
                <c:ptCount val="7"/>
                <c:pt idx="0">
                  <c:v>0.47100840336134464</c:v>
                </c:pt>
                <c:pt idx="1">
                  <c:v>0.16218487394957984</c:v>
                </c:pt>
                <c:pt idx="2">
                  <c:v>0.14579831932773113</c:v>
                </c:pt>
                <c:pt idx="3">
                  <c:v>7.9831932773109252E-2</c:v>
                </c:pt>
                <c:pt idx="4">
                  <c:v>4.957983193277312E-2</c:v>
                </c:pt>
                <c:pt idx="5">
                  <c:v>8.3613445378151255E-2</c:v>
                </c:pt>
                <c:pt idx="6">
                  <c:v>7.983193277310925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octer &amp; Gamble</c:v>
                </c:pt>
                <c:pt idx="1">
                  <c:v>Harrys</c:v>
                </c:pt>
                <c:pt idx="2">
                  <c:v>Bic</c:v>
                </c:pt>
                <c:pt idx="3">
                  <c:v>Unilever</c:v>
                </c:pt>
                <c:pt idx="4">
                  <c:v>Edgewell Personal Care</c:v>
                </c:pt>
                <c:pt idx="5">
                  <c:v>Pbg</c:v>
                </c:pt>
                <c:pt idx="6">
                  <c:v>Others</c:v>
                </c:pt>
              </c:strCache>
            </c:strRef>
          </c:cat>
          <c:val>
            <c:numRef>
              <c:f>Sheet1!$D$2:$D$8</c:f>
              <c:numCache>
                <c:formatCode>General</c:formatCode>
                <c:ptCount val="7"/>
                <c:pt idx="0">
                  <c:v>0.79815524773173663</c:v>
                </c:pt>
                <c:pt idx="1">
                  <c:v>0.79058873999367107</c:v>
                </c:pt>
                <c:pt idx="2">
                  <c:v>1.9062017715870867</c:v>
                </c:pt>
                <c:pt idx="3">
                  <c:v>1.7498621084129573</c:v>
                </c:pt>
                <c:pt idx="4">
                  <c:v>1.1969353283291191</c:v>
                </c:pt>
                <c:pt idx="5">
                  <c:v>2.0880750442364255</c:v>
                </c:pt>
                <c:pt idx="6">
                  <c:v>6.88357267896967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B$2:$B$9</c:f>
              <c:numCache>
                <c:formatCode>General</c:formatCode>
                <c:ptCount val="8"/>
                <c:pt idx="0">
                  <c:v>0.5727952101920154</c:v>
                </c:pt>
                <c:pt idx="1">
                  <c:v>0.21145741906350762</c:v>
                </c:pt>
                <c:pt idx="2">
                  <c:v>8.3384172322738523E-2</c:v>
                </c:pt>
                <c:pt idx="3">
                  <c:v>4.5161741813225832E-2</c:v>
                </c:pt>
                <c:pt idx="4">
                  <c:v>3.8719642779360929E-2</c:v>
                </c:pt>
                <c:pt idx="5">
                  <c:v>2.9552320956033169E-2</c:v>
                </c:pt>
                <c:pt idx="6">
                  <c:v>1.8920839671646029E-2</c:v>
                </c:pt>
                <c:pt idx="7">
                  <c:v>3.4338101081377195E-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C$2:$C$9</c:f>
              <c:numCache>
                <c:formatCode>General</c:formatCode>
                <c:ptCount val="8"/>
                <c:pt idx="0">
                  <c:v>0.49403014288510477</c:v>
                </c:pt>
                <c:pt idx="1">
                  <c:v>0.13740458015267176</c:v>
                </c:pt>
                <c:pt idx="2">
                  <c:v>0.15443335290663535</c:v>
                </c:pt>
                <c:pt idx="3">
                  <c:v>6.6353493834409874E-2</c:v>
                </c:pt>
                <c:pt idx="4">
                  <c:v>5.9307105108631818E-2</c:v>
                </c:pt>
                <c:pt idx="5">
                  <c:v>5.7545507927187309E-2</c:v>
                </c:pt>
                <c:pt idx="6">
                  <c:v>3.092581718535917E-2</c:v>
                </c:pt>
                <c:pt idx="7">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octer &amp; Gamble</c:v>
                </c:pt>
                <c:pt idx="1">
                  <c:v>Harrys</c:v>
                </c:pt>
                <c:pt idx="2">
                  <c:v>Bic</c:v>
                </c:pt>
                <c:pt idx="3">
                  <c:v>Edgewell Personal Care</c:v>
                </c:pt>
                <c:pt idx="4">
                  <c:v>Unilever</c:v>
                </c:pt>
                <c:pt idx="5">
                  <c:v>Pbg</c:v>
                </c:pt>
                <c:pt idx="6">
                  <c:v>Universal Beauty Prods Inc</c:v>
                </c:pt>
                <c:pt idx="7">
                  <c:v>Others</c:v>
                </c:pt>
              </c:strCache>
            </c:strRef>
          </c:cat>
          <c:val>
            <c:numRef>
              <c:f>Sheet1!$D$2:$D$9</c:f>
              <c:numCache>
                <c:formatCode>General</c:formatCode>
                <c:ptCount val="8"/>
                <c:pt idx="0">
                  <c:v>0.86249000357299321</c:v>
                </c:pt>
                <c:pt idx="1">
                  <c:v>0.64979786834248954</c:v>
                </c:pt>
                <c:pt idx="2">
                  <c:v>1.8520703462630881</c:v>
                </c:pt>
                <c:pt idx="3">
                  <c:v>1.4692412464697704</c:v>
                </c:pt>
                <c:pt idx="4">
                  <c:v>1.5317058952890135</c:v>
                </c:pt>
                <c:pt idx="5">
                  <c:v>1.9472415724234096</c:v>
                </c:pt>
                <c:pt idx="6">
                  <c:v>1.6344843950928507</c:v>
                </c:pt>
                <c:pt idx="7">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082386189050302</c:v>
                </c:pt>
                <c:pt idx="1">
                  <c:v>0.18453803758152043</c:v>
                </c:pt>
                <c:pt idx="2">
                  <c:v>0.15328225460688705</c:v>
                </c:pt>
                <c:pt idx="3">
                  <c:v>0.11808411865374223</c:v>
                </c:pt>
                <c:pt idx="4">
                  <c:v>3.271727267347310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86964905514846</c:v>
                </c:pt>
                <c:pt idx="1">
                  <c:v>0.26535383725414563</c:v>
                </c:pt>
                <c:pt idx="2">
                  <c:v>0.13890763594292321</c:v>
                </c:pt>
                <c:pt idx="3">
                  <c:v>0.15860007713073657</c:v>
                </c:pt>
                <c:pt idx="4">
                  <c:v>2.844195912070959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5569241549891275</c:v>
                </c:pt>
                <c:pt idx="1">
                  <c:v>1.4379357271366044</c:v>
                </c:pt>
                <c:pt idx="2">
                  <c:v>0.90622124719636021</c:v>
                </c:pt>
                <c:pt idx="3">
                  <c:v>1.3431109868025453</c:v>
                </c:pt>
                <c:pt idx="4">
                  <c:v>8.6932549068401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B$2:$B$5</c:f>
              <c:numCache>
                <c:formatCode>General</c:formatCode>
                <c:ptCount val="4"/>
                <c:pt idx="0">
                  <c:v>0.64685757162682911</c:v>
                </c:pt>
                <c:pt idx="1">
                  <c:v>0.30061391144213834</c:v>
                </c:pt>
                <c:pt idx="2">
                  <c:v>4.4594999991539257E-2</c:v>
                </c:pt>
                <c:pt idx="3">
                  <c:v>7.9335169394933666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C$2:$C$5</c:f>
              <c:numCache>
                <c:formatCode>General</c:formatCode>
                <c:ptCount val="4"/>
                <c:pt idx="0">
                  <c:v>0.36050724637681159</c:v>
                </c:pt>
                <c:pt idx="1">
                  <c:v>0.38949275362318836</c:v>
                </c:pt>
                <c:pt idx="2">
                  <c:v>0.14492753623188406</c:v>
                </c:pt>
                <c:pt idx="3">
                  <c:v>0.105072463768115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ter &amp; Gamble</c:v>
                </c:pt>
                <c:pt idx="1">
                  <c:v>Edgewell Personal Care</c:v>
                </c:pt>
                <c:pt idx="2">
                  <c:v>Bic</c:v>
                </c:pt>
                <c:pt idx="3">
                  <c:v>Others</c:v>
                </c:pt>
              </c:strCache>
            </c:strRef>
          </c:cat>
          <c:val>
            <c:numRef>
              <c:f>Sheet1!$D$2:$D$5</c:f>
              <c:numCache>
                <c:formatCode>General</c:formatCode>
                <c:ptCount val="4"/>
                <c:pt idx="0">
                  <c:v>0.55732090368849774</c:v>
                </c:pt>
                <c:pt idx="1">
                  <c:v>1.2956577816198545</c:v>
                </c:pt>
                <c:pt idx="2">
                  <c:v>3.2498606628406841</c:v>
                </c:pt>
                <c:pt idx="3">
                  <c:v>13.244121688965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B$2:$B$4</c:f>
              <c:numCache>
                <c:formatCode>General</c:formatCode>
                <c:ptCount val="3"/>
                <c:pt idx="0">
                  <c:v>0.58060561431334312</c:v>
                </c:pt>
                <c:pt idx="1">
                  <c:v>0.40033726926049551</c:v>
                </c:pt>
                <c:pt idx="2">
                  <c:v>1.90571164261613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C$2:$C$4</c:f>
              <c:numCache>
                <c:formatCode>General</c:formatCode>
                <c:ptCount val="3"/>
                <c:pt idx="0">
                  <c:v>0.38194444444444448</c:v>
                </c:pt>
                <c:pt idx="1">
                  <c:v>0.58333333333333337</c:v>
                </c:pt>
                <c:pt idx="2">
                  <c:v>3.472222222222222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Edgewell Personal Care</c:v>
                </c:pt>
                <c:pt idx="2">
                  <c:v>Bic</c:v>
                </c:pt>
              </c:strCache>
            </c:strRef>
          </c:cat>
          <c:val>
            <c:numRef>
              <c:f>Sheet1!$D$2:$D$4</c:f>
              <c:numCache>
                <c:formatCode>General</c:formatCode>
                <c:ptCount val="3"/>
                <c:pt idx="0">
                  <c:v>0.65783801435704936</c:v>
                </c:pt>
                <c:pt idx="1">
                  <c:v>1.4571047417365584</c:v>
                </c:pt>
                <c:pt idx="2">
                  <c:v>1.822008190838146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9178393832722365</c:v>
                </c:pt>
                <c:pt idx="1">
                  <c:v>0.16414064550992524</c:v>
                </c:pt>
                <c:pt idx="2">
                  <c:v>0.13480606533282488</c:v>
                </c:pt>
                <c:pt idx="3">
                  <c:v>0.10662706404701726</c:v>
                </c:pt>
                <c:pt idx="4">
                  <c:v>2.64228678300894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3693583800927044</c:v>
                </c:pt>
                <c:pt idx="1">
                  <c:v>0.25420834349841415</c:v>
                </c:pt>
                <c:pt idx="2">
                  <c:v>0.13979019272993412</c:v>
                </c:pt>
                <c:pt idx="3">
                  <c:v>0.14247377409124173</c:v>
                </c:pt>
                <c:pt idx="4">
                  <c:v>2.65918516711392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3833676399589809</c:v>
                </c:pt>
                <c:pt idx="1">
                  <c:v>1.5487226988091911</c:v>
                </c:pt>
                <c:pt idx="2">
                  <c:v>1.0369725752680627</c:v>
                </c:pt>
                <c:pt idx="3">
                  <c:v>1.3361877246138734</c:v>
                </c:pt>
                <c:pt idx="4">
                  <c:v>10.0639536336996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4232810204621629</c:v>
                </c:pt>
                <c:pt idx="1">
                  <c:v>0.17466163350264091</c:v>
                </c:pt>
                <c:pt idx="2">
                  <c:v>0.16328107149783413</c:v>
                </c:pt>
                <c:pt idx="3">
                  <c:v>0.11709290612027616</c:v>
                </c:pt>
                <c:pt idx="4">
                  <c:v>2.636286833032484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346255175009416</c:v>
                </c:pt>
                <c:pt idx="1">
                  <c:v>0.23033496424538957</c:v>
                </c:pt>
                <c:pt idx="2">
                  <c:v>0.19119307489649984</c:v>
                </c:pt>
                <c:pt idx="3">
                  <c:v>0.15393300715092212</c:v>
                </c:pt>
                <c:pt idx="4">
                  <c:v>2.1076401957094471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4394550130782588</c:v>
                </c:pt>
                <c:pt idx="1">
                  <c:v>1.3187496282170457</c:v>
                </c:pt>
                <c:pt idx="2">
                  <c:v>1.1709445139146821</c:v>
                </c:pt>
                <c:pt idx="3">
                  <c:v>1.3146228260216237</c:v>
                </c:pt>
                <c:pt idx="4">
                  <c:v>7.99473019893308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B$2:$B$6</c:f>
              <c:numCache>
                <c:formatCode>General</c:formatCode>
                <c:ptCount val="5"/>
                <c:pt idx="0">
                  <c:v>0.53591446079632776</c:v>
                </c:pt>
                <c:pt idx="1">
                  <c:v>0.18718514906711023</c:v>
                </c:pt>
                <c:pt idx="2">
                  <c:v>0.15428676179551037</c:v>
                </c:pt>
                <c:pt idx="3">
                  <c:v>0.11923589594459544</c:v>
                </c:pt>
                <c:pt idx="4">
                  <c:v>3.3777323964562503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C$2:$C$6</c:f>
              <c:numCache>
                <c:formatCode>General</c:formatCode>
                <c:ptCount val="5"/>
                <c:pt idx="0">
                  <c:v>0.40667606958157032</c:v>
                </c:pt>
                <c:pt idx="1">
                  <c:v>0.26774800188058301</c:v>
                </c:pt>
                <c:pt idx="2">
                  <c:v>0.13657733897508231</c:v>
                </c:pt>
                <c:pt idx="3">
                  <c:v>0.16008462623413261</c:v>
                </c:pt>
                <c:pt idx="4">
                  <c:v>2.89139633286318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octer &amp; Gamble</c:v>
                </c:pt>
                <c:pt idx="1">
                  <c:v>Bic</c:v>
                </c:pt>
                <c:pt idx="2">
                  <c:v>Pbg</c:v>
                </c:pt>
                <c:pt idx="3">
                  <c:v>Edgewell Personal Care</c:v>
                </c:pt>
                <c:pt idx="4">
                  <c:v>Others</c:v>
                </c:pt>
              </c:strCache>
            </c:strRef>
          </c:cat>
          <c:val>
            <c:numRef>
              <c:f>Sheet1!$D$2:$D$6</c:f>
              <c:numCache>
                <c:formatCode>General</c:formatCode>
                <c:ptCount val="5"/>
                <c:pt idx="0">
                  <c:v>0.75884511303778013</c:v>
                </c:pt>
                <c:pt idx="1">
                  <c:v>1.430391263489547</c:v>
                </c:pt>
                <c:pt idx="2">
                  <c:v>0.88521748324785055</c:v>
                </c:pt>
                <c:pt idx="3">
                  <c:v>1.3425875233790174</c:v>
                </c:pt>
                <c:pt idx="4">
                  <c:v>8.56016994092456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845903530310278</c:v>
                </c:pt>
                <c:pt idx="1">
                  <c:v>0.20224109939179227</c:v>
                </c:pt>
                <c:pt idx="2">
                  <c:v>5.2245126318850414E-2</c:v>
                </c:pt>
                <c:pt idx="3">
                  <c:v>4.5585059620872087E-2</c:v>
                </c:pt>
                <c:pt idx="4">
                  <c:v>2.9879671567027418E-2</c:v>
                </c:pt>
                <c:pt idx="5">
                  <c:v>2.15741799397465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60724196580431455</c:v>
                </c:pt>
                <c:pt idx="1">
                  <c:v>0.18248142511861065</c:v>
                </c:pt>
                <c:pt idx="2">
                  <c:v>8.1416166860621239E-2</c:v>
                </c:pt>
                <c:pt idx="3">
                  <c:v>6.8078059260585425E-2</c:v>
                </c:pt>
                <c:pt idx="4">
                  <c:v>2.7168561453764204E-2</c:v>
                </c:pt>
                <c:pt idx="5">
                  <c:v>3.361382150210365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0.93643843750357714</c:v>
                </c:pt>
                <c:pt idx="1">
                  <c:v>0.90229644551673382</c:v>
                </c:pt>
                <c:pt idx="2">
                  <c:v>1.5583495073538698</c:v>
                </c:pt>
                <c:pt idx="3">
                  <c:v>1.4934292030499932</c:v>
                </c:pt>
                <c:pt idx="4">
                  <c:v>0.90926573248365428</c:v>
                </c:pt>
                <c:pt idx="5">
                  <c:v>1.55805790050801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B$2:$B$9</c:f>
              <c:numCache>
                <c:formatCode>General</c:formatCode>
                <c:ptCount val="8"/>
                <c:pt idx="0">
                  <c:v>0.57215875792109039</c:v>
                </c:pt>
                <c:pt idx="1">
                  <c:v>0.12903402387555485</c:v>
                </c:pt>
                <c:pt idx="2">
                  <c:v>0.1047374789670963</c:v>
                </c:pt>
                <c:pt idx="3">
                  <c:v>8.6360836984151618E-2</c:v>
                </c:pt>
                <c:pt idx="4">
                  <c:v>6.9859745722448893E-2</c:v>
                </c:pt>
                <c:pt idx="5">
                  <c:v>2.8475386707381922E-2</c:v>
                </c:pt>
                <c:pt idx="6">
                  <c:v>2.5083084027151109E-6</c:v>
                </c:pt>
                <c:pt idx="7">
                  <c:v>9.371261513873305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C$2:$C$9</c:f>
              <c:numCache>
                <c:formatCode>General</c:formatCode>
                <c:ptCount val="8"/>
                <c:pt idx="0">
                  <c:v>0.43537820131030386</c:v>
                </c:pt>
                <c:pt idx="1">
                  <c:v>8.7750645225332546E-2</c:v>
                </c:pt>
                <c:pt idx="2">
                  <c:v>0.17669247567996821</c:v>
                </c:pt>
                <c:pt idx="3">
                  <c:v>0.14036132618622196</c:v>
                </c:pt>
                <c:pt idx="4">
                  <c:v>0.10462576930712728</c:v>
                </c:pt>
                <c:pt idx="5">
                  <c:v>3.7720865594599959E-2</c:v>
                </c:pt>
                <c:pt idx="6">
                  <c:v>0</c:v>
                </c:pt>
                <c:pt idx="7">
                  <c:v>1.747071669644629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Cremo</c:v>
                </c:pt>
                <c:pt idx="7">
                  <c:v>Others</c:v>
                </c:pt>
              </c:strCache>
            </c:strRef>
          </c:cat>
          <c:val>
            <c:numRef>
              <c:f>Sheet1!$D$2:$D$9</c:f>
              <c:numCache>
                <c:formatCode>General</c:formatCode>
                <c:ptCount val="8"/>
                <c:pt idx="0">
                  <c:v>0.76093950373534136</c:v>
                </c:pt>
                <c:pt idx="1">
                  <c:v>0.68005819387576794</c:v>
                </c:pt>
                <c:pt idx="2">
                  <c:v>1.6870033289179784</c:v>
                </c:pt>
                <c:pt idx="3">
                  <c:v>1.6252890903776229</c:v>
                </c:pt>
                <c:pt idx="4">
                  <c:v>1.497654596723025</c:v>
                </c:pt>
                <c:pt idx="5">
                  <c:v>1.3246831722506951</c:v>
                </c:pt>
                <c:pt idx="6">
                  <c:v>0</c:v>
                </c:pt>
                <c:pt idx="7">
                  <c:v>1.864286539286357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B$2:$B$4</c:f>
              <c:numCache>
                <c:formatCode>General</c:formatCode>
                <c:ptCount val="3"/>
                <c:pt idx="0">
                  <c:v>0.68107556181751516</c:v>
                </c:pt>
                <c:pt idx="1">
                  <c:v>0.313926510063266</c:v>
                </c:pt>
                <c:pt idx="2">
                  <c:v>4.9979281192188401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C$2:$C$4</c:f>
              <c:numCache>
                <c:formatCode>General</c:formatCode>
                <c:ptCount val="3"/>
                <c:pt idx="0">
                  <c:v>0.63882618510158018</c:v>
                </c:pt>
                <c:pt idx="1">
                  <c:v>0.2234762979683973</c:v>
                </c:pt>
                <c:pt idx="2">
                  <c:v>0.137697516930022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cter &amp; Gamble</c:v>
                </c:pt>
                <c:pt idx="1">
                  <c:v>Harrys</c:v>
                </c:pt>
                <c:pt idx="2">
                  <c:v>Others</c:v>
                </c:pt>
              </c:strCache>
            </c:strRef>
          </c:cat>
          <c:val>
            <c:numRef>
              <c:f>Sheet1!$D$2:$D$4</c:f>
              <c:numCache>
                <c:formatCode>General</c:formatCode>
                <c:ptCount val="3"/>
                <c:pt idx="0">
                  <c:v>0.93796668228237634</c:v>
                </c:pt>
                <c:pt idx="1">
                  <c:v>0.71187456555790662</c:v>
                </c:pt>
                <c:pt idx="2">
                  <c:v>27.5509198302644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B$2:$B$3</c:f>
              <c:numCache>
                <c:formatCode>General</c:formatCode>
                <c:ptCount val="2"/>
                <c:pt idx="0">
                  <c:v>0.9999743809551962</c:v>
                </c:pt>
                <c:pt idx="1">
                  <c:v>2.561904480376797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C$2:$C$3</c:f>
              <c:numCache>
                <c:formatCode>General</c:formatCode>
                <c:ptCount val="2"/>
                <c:pt idx="0">
                  <c:v>1</c:v>
                </c:pt>
                <c:pt idx="1">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octer &amp; Gamble</c:v>
                </c:pt>
                <c:pt idx="1">
                  <c:v>Others</c:v>
                </c:pt>
              </c:strCache>
            </c:strRef>
          </c:cat>
          <c:val>
            <c:numRef>
              <c:f>Sheet1!$D$2:$D$3</c:f>
              <c:numCache>
                <c:formatCode>General</c:formatCode>
                <c:ptCount val="2"/>
                <c:pt idx="0">
                  <c:v>1.0000256197011561</c:v>
                </c:pt>
                <c:pt idx="1">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B$2:$B$7</c:f>
              <c:numCache>
                <c:formatCode>General</c:formatCode>
                <c:ptCount val="6"/>
                <c:pt idx="0">
                  <c:v>0.68783737576687554</c:v>
                </c:pt>
                <c:pt idx="1">
                  <c:v>0.18097371641078247</c:v>
                </c:pt>
                <c:pt idx="2">
                  <c:v>4.2128204910829088E-2</c:v>
                </c:pt>
                <c:pt idx="3">
                  <c:v>4.2010930536834044E-2</c:v>
                </c:pt>
                <c:pt idx="4">
                  <c:v>2.5361219201347384E-2</c:v>
                </c:pt>
                <c:pt idx="5">
                  <c:v>2.168586857922802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C$2:$C$7</c:f>
              <c:numCache>
                <c:formatCode>General</c:formatCode>
                <c:ptCount val="6"/>
                <c:pt idx="0">
                  <c:v>0.61141304347826086</c:v>
                </c:pt>
                <c:pt idx="1">
                  <c:v>0.18858695652173912</c:v>
                </c:pt>
                <c:pt idx="2">
                  <c:v>7.9347826086956522E-2</c:v>
                </c:pt>
                <c:pt idx="3">
                  <c:v>5.3260869565217403E-2</c:v>
                </c:pt>
                <c:pt idx="4">
                  <c:v>2.9347826086956526E-2</c:v>
                </c:pt>
                <c:pt idx="5">
                  <c:v>3.804347826086956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Universal Beauty Prods Inc</c:v>
                </c:pt>
                <c:pt idx="5">
                  <c:v>Pbg</c:v>
                </c:pt>
              </c:strCache>
            </c:strRef>
          </c:cat>
          <c:val>
            <c:numRef>
              <c:f>Sheet1!$D$2:$D$7</c:f>
              <c:numCache>
                <c:formatCode>General</c:formatCode>
                <c:ptCount val="6"/>
                <c:pt idx="0">
                  <c:v>0.88889185877198296</c:v>
                </c:pt>
                <c:pt idx="1">
                  <c:v>1.0420682089197735</c:v>
                </c:pt>
                <c:pt idx="2">
                  <c:v>1.8834846216426397</c:v>
                </c:pt>
                <c:pt idx="3">
                  <c:v>1.2677859996107375</c:v>
                </c:pt>
                <c:pt idx="4">
                  <c:v>1.1571930297971378</c:v>
                </c:pt>
                <c:pt idx="5">
                  <c:v>1.75429810993643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B$2:$B$7</c:f>
              <c:numCache>
                <c:formatCode>General</c:formatCode>
                <c:ptCount val="6"/>
                <c:pt idx="0">
                  <c:v>0.66462879645305817</c:v>
                </c:pt>
                <c:pt idx="1">
                  <c:v>0.18553105912505027</c:v>
                </c:pt>
                <c:pt idx="2">
                  <c:v>6.0854558549794685E-2</c:v>
                </c:pt>
                <c:pt idx="3">
                  <c:v>5.4170930417457838E-2</c:v>
                </c:pt>
                <c:pt idx="4">
                  <c:v>3.2748599276019794E-2</c:v>
                </c:pt>
                <c:pt idx="5">
                  <c:v>2.0660561786191994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C$2:$C$7</c:f>
              <c:numCache>
                <c:formatCode>General</c:formatCode>
                <c:ptCount val="6"/>
                <c:pt idx="0">
                  <c:v>0.56776947705442915</c:v>
                </c:pt>
                <c:pt idx="1">
                  <c:v>0.19530416221985061</c:v>
                </c:pt>
                <c:pt idx="2">
                  <c:v>0.1088580576307364</c:v>
                </c:pt>
                <c:pt idx="3">
                  <c:v>6.5101387406616862E-2</c:v>
                </c:pt>
                <c:pt idx="4">
                  <c:v>5.6563500533617937E-2</c:v>
                </c:pt>
                <c:pt idx="5">
                  <c:v>6.4034151547491995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Unilever</c:v>
                </c:pt>
                <c:pt idx="3">
                  <c:v>Edgewell Personal Care</c:v>
                </c:pt>
                <c:pt idx="4">
                  <c:v>Pbg</c:v>
                </c:pt>
                <c:pt idx="5">
                  <c:v>Others</c:v>
                </c:pt>
              </c:strCache>
            </c:strRef>
          </c:cat>
          <c:val>
            <c:numRef>
              <c:f>Sheet1!$D$2:$D$7</c:f>
              <c:numCache>
                <c:formatCode>General</c:formatCode>
                <c:ptCount val="6"/>
                <c:pt idx="0">
                  <c:v>0.8542655390263848</c:v>
                </c:pt>
                <c:pt idx="1">
                  <c:v>1.0526763720365178</c:v>
                </c:pt>
                <c:pt idx="2">
                  <c:v>1.7888233885003455</c:v>
                </c:pt>
                <c:pt idx="3">
                  <c:v>1.2017771691371288</c:v>
                </c:pt>
                <c:pt idx="4">
                  <c:v>1.7272036601283474</c:v>
                </c:pt>
                <c:pt idx="5">
                  <c:v>3.09934222554818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B$2:$B$7</c:f>
              <c:numCache>
                <c:formatCode>General</c:formatCode>
                <c:ptCount val="6"/>
                <c:pt idx="0">
                  <c:v>0.64471932029990753</c:v>
                </c:pt>
                <c:pt idx="1">
                  <c:v>0.20469757345628167</c:v>
                </c:pt>
                <c:pt idx="2">
                  <c:v>5.2881543838262185E-2</c:v>
                </c:pt>
                <c:pt idx="3">
                  <c:v>4.4999654738848094E-2</c:v>
                </c:pt>
                <c:pt idx="4">
                  <c:v>3.1729960754940188E-2</c:v>
                </c:pt>
                <c:pt idx="5">
                  <c:v>2.0954299775458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C$2:$C$7</c:f>
              <c:numCache>
                <c:formatCode>General</c:formatCode>
                <c:ptCount val="6"/>
                <c:pt idx="0">
                  <c:v>0.60806794055201707</c:v>
                </c:pt>
                <c:pt idx="1">
                  <c:v>0.18174097664543523</c:v>
                </c:pt>
                <c:pt idx="2">
                  <c:v>8.3651804670912974E-2</c:v>
                </c:pt>
                <c:pt idx="3">
                  <c:v>6.6242038216560523E-2</c:v>
                </c:pt>
                <c:pt idx="4">
                  <c:v>2.7600849256900217E-2</c:v>
                </c:pt>
                <c:pt idx="5">
                  <c:v>3.2696390658174104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Universal Beauty Prods Inc</c:v>
                </c:pt>
                <c:pt idx="5">
                  <c:v>Pbg</c:v>
                </c:pt>
              </c:strCache>
            </c:strRef>
          </c:cat>
          <c:val>
            <c:numRef>
              <c:f>Sheet1!$D$2:$D$7</c:f>
              <c:numCache>
                <c:formatCode>General</c:formatCode>
                <c:ptCount val="6"/>
                <c:pt idx="0">
                  <c:v>0.94315141706806438</c:v>
                </c:pt>
                <c:pt idx="1">
                  <c:v>0.88785115317573904</c:v>
                </c:pt>
                <c:pt idx="2">
                  <c:v>1.5818714545619432</c:v>
                </c:pt>
                <c:pt idx="3">
                  <c:v>1.4720565880114171</c:v>
                </c:pt>
                <c:pt idx="4">
                  <c:v>0.86986710982940341</c:v>
                </c:pt>
                <c:pt idx="5">
                  <c:v>1.560366655461713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709940359128201</c:v>
                </c:pt>
                <c:pt idx="1">
                  <c:v>0.24341488493153948</c:v>
                </c:pt>
                <c:pt idx="2">
                  <c:v>4.6455889563729022E-2</c:v>
                </c:pt>
                <c:pt idx="3">
                  <c:v>4.0291318503790183E-2</c:v>
                </c:pt>
                <c:pt idx="4">
                  <c:v>3.922074446846973E-2</c:v>
                </c:pt>
                <c:pt idx="5">
                  <c:v>1.351348236795649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5600461893764441</c:v>
                </c:pt>
                <c:pt idx="1">
                  <c:v>0.14124501364686123</c:v>
                </c:pt>
                <c:pt idx="2">
                  <c:v>7.1016166281755208E-2</c:v>
                </c:pt>
                <c:pt idx="3">
                  <c:v>7.4742809153894613E-2</c:v>
                </c:pt>
                <c:pt idx="4">
                  <c:v>0.11116943103086292</c:v>
                </c:pt>
                <c:pt idx="5">
                  <c:v>4.58219609489817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0.90099685026741339</c:v>
                </c:pt>
                <c:pt idx="1">
                  <c:v>0.58026448828955735</c:v>
                </c:pt>
                <c:pt idx="2">
                  <c:v>1.5286795054119877</c:v>
                </c:pt>
                <c:pt idx="3">
                  <c:v>1.8550598970064383</c:v>
                </c:pt>
                <c:pt idx="4">
                  <c:v>2.834454892110323</c:v>
                </c:pt>
                <c:pt idx="5">
                  <c:v>3.39083292531878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B$2:$B$2</c:f>
              <c:numCache>
                <c:formatCode>General</c:formatCode>
                <c:ptCount val="1"/>
                <c:pt idx="0">
                  <c:v>0.999999800522388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Procter &amp; Gamble</c:v>
                </c:pt>
              </c:strCache>
            </c:strRef>
          </c:cat>
          <c:val>
            <c:numRef>
              <c:f>Sheet1!$D$2:$D$2</c:f>
              <c:numCache>
                <c:formatCode>General</c:formatCode>
                <c:ptCount val="1"/>
                <c:pt idx="0">
                  <c:v>1.000000199477651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B$2:$B$7</c:f>
              <c:numCache>
                <c:formatCode>General</c:formatCode>
                <c:ptCount val="6"/>
                <c:pt idx="0">
                  <c:v>0.65871033624482334</c:v>
                </c:pt>
                <c:pt idx="1">
                  <c:v>0.21478330524000885</c:v>
                </c:pt>
                <c:pt idx="2">
                  <c:v>4.1950084557145072E-2</c:v>
                </c:pt>
                <c:pt idx="3">
                  <c:v>3.7673563884695019E-2</c:v>
                </c:pt>
                <c:pt idx="4">
                  <c:v>3.2889977513461635E-2</c:v>
                </c:pt>
                <c:pt idx="5">
                  <c:v>1.399170306524105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C$2:$C$7</c:f>
              <c:numCache>
                <c:formatCode>General</c:formatCode>
                <c:ptCount val="6"/>
                <c:pt idx="0">
                  <c:v>0.56864864864864884</c:v>
                </c:pt>
                <c:pt idx="1">
                  <c:v>0.14216216216216215</c:v>
                </c:pt>
                <c:pt idx="2">
                  <c:v>6.4324324324324333E-2</c:v>
                </c:pt>
                <c:pt idx="3">
                  <c:v>0.11027027027027027</c:v>
                </c:pt>
                <c:pt idx="4">
                  <c:v>7.1351351351351344E-2</c:v>
                </c:pt>
                <c:pt idx="5">
                  <c:v>4.324324324324324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Pbg</c:v>
                </c:pt>
                <c:pt idx="4">
                  <c:v>Unilever</c:v>
                </c:pt>
                <c:pt idx="5">
                  <c:v>Universal Beauty Prods Inc</c:v>
                </c:pt>
              </c:strCache>
            </c:strRef>
          </c:cat>
          <c:val>
            <c:numRef>
              <c:f>Sheet1!$D$2:$D$7</c:f>
              <c:numCache>
                <c:formatCode>General</c:formatCode>
                <c:ptCount val="6"/>
                <c:pt idx="0">
                  <c:v>0.86327573344362818</c:v>
                </c:pt>
                <c:pt idx="1">
                  <c:v>0.66188646274580576</c:v>
                </c:pt>
                <c:pt idx="2">
                  <c:v>1.5333538657520633</c:v>
                </c:pt>
                <c:pt idx="3">
                  <c:v>2.9269933316573709</c:v>
                </c:pt>
                <c:pt idx="4">
                  <c:v>2.1693949569332402</c:v>
                </c:pt>
                <c:pt idx="5">
                  <c:v>3.090634716989559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B$2:$B$7</c:f>
              <c:numCache>
                <c:formatCode>General</c:formatCode>
                <c:ptCount val="6"/>
                <c:pt idx="0">
                  <c:v>0.62568502670852777</c:v>
                </c:pt>
                <c:pt idx="1">
                  <c:v>0.24117258792104182</c:v>
                </c:pt>
                <c:pt idx="2">
                  <c:v>4.8878093988261435E-2</c:v>
                </c:pt>
                <c:pt idx="3">
                  <c:v>4.3446221986879467E-2</c:v>
                </c:pt>
                <c:pt idx="4">
                  <c:v>3.9982254620325328E-2</c:v>
                </c:pt>
                <c:pt idx="5">
                  <c:v>8.345503048053951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C$2:$C$7</c:f>
              <c:numCache>
                <c:formatCode>General</c:formatCode>
                <c:ptCount val="6"/>
                <c:pt idx="0">
                  <c:v>0.53740875912408748</c:v>
                </c:pt>
                <c:pt idx="1">
                  <c:v>0.18521897810218974</c:v>
                </c:pt>
                <c:pt idx="2">
                  <c:v>0.13321167883211676</c:v>
                </c:pt>
                <c:pt idx="3">
                  <c:v>8.0291970802919707E-2</c:v>
                </c:pt>
                <c:pt idx="4">
                  <c:v>5.2007299270072992E-2</c:v>
                </c:pt>
                <c:pt idx="5">
                  <c:v>1.186131386861313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Pbg</c:v>
                </c:pt>
                <c:pt idx="3">
                  <c:v>Unilever</c:v>
                </c:pt>
                <c:pt idx="4">
                  <c:v>Edgewell Personal Care</c:v>
                </c:pt>
                <c:pt idx="5">
                  <c:v>Others</c:v>
                </c:pt>
              </c:strCache>
            </c:strRef>
          </c:cat>
          <c:val>
            <c:numRef>
              <c:f>Sheet1!$D$2:$D$7</c:f>
              <c:numCache>
                <c:formatCode>General</c:formatCode>
                <c:ptCount val="6"/>
                <c:pt idx="0">
                  <c:v>0.85891260967387129</c:v>
                </c:pt>
                <c:pt idx="1">
                  <c:v>0.76799349253916493</c:v>
                </c:pt>
                <c:pt idx="2">
                  <c:v>2.7253861180452104</c:v>
                </c:pt>
                <c:pt idx="3">
                  <c:v>1.8480771660000141</c:v>
                </c:pt>
                <c:pt idx="4">
                  <c:v>1.3007595435509689</c:v>
                </c:pt>
                <c:pt idx="5">
                  <c:v>14.21282072550320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B$2:$B$11</c:f>
              <c:numCache>
                <c:formatCode>General</c:formatCode>
                <c:ptCount val="10"/>
                <c:pt idx="0">
                  <c:v>0.56090594801346816</c:v>
                </c:pt>
                <c:pt idx="1">
                  <c:v>0.14437866093188914</c:v>
                </c:pt>
                <c:pt idx="2">
                  <c:v>0.10612175297548615</c:v>
                </c:pt>
                <c:pt idx="3">
                  <c:v>6.9762969705455508E-2</c:v>
                </c:pt>
                <c:pt idx="4">
                  <c:v>6.8740181063599012E-2</c:v>
                </c:pt>
                <c:pt idx="5">
                  <c:v>2.6237294475988257E-2</c:v>
                </c:pt>
                <c:pt idx="6">
                  <c:v>1.2821323280886886E-2</c:v>
                </c:pt>
                <c:pt idx="7">
                  <c:v>1.0724769328363122E-2</c:v>
                </c:pt>
                <c:pt idx="8">
                  <c:v>3.0064786487591966E-4</c:v>
                </c:pt>
                <c:pt idx="9">
                  <c:v>6.4523599877788164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C$2:$C$11</c:f>
              <c:numCache>
                <c:formatCode>General</c:formatCode>
                <c:ptCount val="10"/>
                <c:pt idx="0">
                  <c:v>0.4543415571932074</c:v>
                </c:pt>
                <c:pt idx="1">
                  <c:v>8.8112784363985897E-2</c:v>
                </c:pt>
                <c:pt idx="2">
                  <c:v>0.18914877710135639</c:v>
                </c:pt>
                <c:pt idx="3">
                  <c:v>9.3452953113318374E-2</c:v>
                </c:pt>
                <c:pt idx="4">
                  <c:v>0.10680337498664956</c:v>
                </c:pt>
                <c:pt idx="5">
                  <c:v>3.2361422620954816E-2</c:v>
                </c:pt>
                <c:pt idx="6">
                  <c:v>1.6874933247890633E-2</c:v>
                </c:pt>
                <c:pt idx="7">
                  <c:v>1.6768129872903981E-2</c:v>
                </c:pt>
                <c:pt idx="8">
                  <c:v>2.1360674997329913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Equate</c:v>
                </c:pt>
                <c:pt idx="4">
                  <c:v>Schick</c:v>
                </c:pt>
                <c:pt idx="5">
                  <c:v>Dollar Shave Club</c:v>
                </c:pt>
                <c:pt idx="6">
                  <c:v>Van Der Hagen</c:v>
                </c:pt>
                <c:pt idx="7">
                  <c:v>Comfort 3</c:v>
                </c:pt>
                <c:pt idx="8">
                  <c:v>Cremo</c:v>
                </c:pt>
                <c:pt idx="9">
                  <c:v>Others</c:v>
                </c:pt>
              </c:strCache>
            </c:strRef>
          </c:cat>
          <c:val>
            <c:numRef>
              <c:f>Sheet1!$D$2:$D$11</c:f>
              <c:numCache>
                <c:formatCode>General</c:formatCode>
                <c:ptCount val="10"/>
                <c:pt idx="0">
                  <c:v>0.81001379786098826</c:v>
                </c:pt>
                <c:pt idx="1">
                  <c:v>0.6102895247487663</c:v>
                </c:pt>
                <c:pt idx="2">
                  <c:v>1.7823751662399439</c:v>
                </c:pt>
                <c:pt idx="3">
                  <c:v>1.3395781961101105</c:v>
                </c:pt>
                <c:pt idx="4">
                  <c:v>1.5537255406388026</c:v>
                </c:pt>
                <c:pt idx="5">
                  <c:v>1.233413096406385</c:v>
                </c:pt>
                <c:pt idx="6">
                  <c:v>1.3161615909838713</c:v>
                </c:pt>
                <c:pt idx="7">
                  <c:v>1.5634956202329093</c:v>
                </c:pt>
                <c:pt idx="8">
                  <c:v>7.1048816548707823</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B$2:$B$7</c:f>
              <c:numCache>
                <c:formatCode>General</c:formatCode>
                <c:ptCount val="6"/>
                <c:pt idx="0">
                  <c:v>0.6134744311013659</c:v>
                </c:pt>
                <c:pt idx="1">
                  <c:v>0.24568657206703032</c:v>
                </c:pt>
                <c:pt idx="2">
                  <c:v>4.718507805126225E-2</c:v>
                </c:pt>
                <c:pt idx="3">
                  <c:v>4.0651772182946647E-2</c:v>
                </c:pt>
                <c:pt idx="4">
                  <c:v>3.874969133455497E-2</c:v>
                </c:pt>
                <c:pt idx="5">
                  <c:v>1.424775358950609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C$2:$C$7</c:f>
              <c:numCache>
                <c:formatCode>General</c:formatCode>
                <c:ptCount val="6"/>
                <c:pt idx="0">
                  <c:v>0.55572519083969474</c:v>
                </c:pt>
                <c:pt idx="1">
                  <c:v>0.13944020356234099</c:v>
                </c:pt>
                <c:pt idx="2">
                  <c:v>7.2264631043257005E-2</c:v>
                </c:pt>
                <c:pt idx="3">
                  <c:v>7.4809160305343514E-2</c:v>
                </c:pt>
                <c:pt idx="4">
                  <c:v>0.11043256997455471</c:v>
                </c:pt>
                <c:pt idx="5">
                  <c:v>4.732824427480916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ter &amp; Gamble</c:v>
                </c:pt>
                <c:pt idx="1">
                  <c:v>Harrys</c:v>
                </c:pt>
                <c:pt idx="2">
                  <c:v>Edgewell Personal Care</c:v>
                </c:pt>
                <c:pt idx="3">
                  <c:v>Unilever</c:v>
                </c:pt>
                <c:pt idx="4">
                  <c:v>Pbg</c:v>
                </c:pt>
                <c:pt idx="5">
                  <c:v>Universal Beauty Prods Inc</c:v>
                </c:pt>
              </c:strCache>
            </c:strRef>
          </c:cat>
          <c:val>
            <c:numRef>
              <c:f>Sheet1!$D$2:$D$7</c:f>
              <c:numCache>
                <c:formatCode>General</c:formatCode>
                <c:ptCount val="6"/>
                <c:pt idx="0">
                  <c:v>0.90586528576587222</c:v>
                </c:pt>
                <c:pt idx="1">
                  <c:v>0.56755321379264356</c:v>
                </c:pt>
                <c:pt idx="2">
                  <c:v>1.5315144962724896</c:v>
                </c:pt>
                <c:pt idx="3">
                  <c:v>1.840243519241354</c:v>
                </c:pt>
                <c:pt idx="4">
                  <c:v>2.8498954745499265</c:v>
                </c:pt>
                <c:pt idx="5">
                  <c:v>3.32180395860213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2</c:f>
              <c:strCache>
                <c:ptCount val="1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pt idx="135">
                  <c:v>Bic</c:v>
                </c:pt>
                <c:pt idx="136">
                  <c:v>Harry's</c:v>
                </c:pt>
                <c:pt idx="137">
                  <c:v>Equate</c:v>
                </c:pt>
                <c:pt idx="138">
                  <c:v>Dollar Shav</c:v>
                </c:pt>
                <c:pt idx="139">
                  <c:v>Dollar Shav</c:v>
                </c:pt>
                <c:pt idx="140">
                  <c:v>Schick</c:v>
                </c:pt>
              </c:strCache>
            </c:strRef>
          </c:cat>
          <c:val>
            <c:numRef>
              <c:f>Sheet1!$B$2:$B$142</c:f>
              <c:numCache>
                <c:formatCode>General</c:formatCode>
                <c:ptCount val="141"/>
                <c:pt idx="0">
                  <c:v>0.98599999999999999</c:v>
                </c:pt>
                <c:pt idx="1">
                  <c:v>0.98799999999999999</c:v>
                </c:pt>
                <c:pt idx="2">
                  <c:v>0.98499999999999999</c:v>
                </c:pt>
                <c:pt idx="3">
                  <c:v>0.92900000000000005</c:v>
                </c:pt>
                <c:pt idx="4">
                  <c:v>0.92100000000000004</c:v>
                </c:pt>
                <c:pt idx="5">
                  <c:v>0.86099999999999999</c:v>
                </c:pt>
                <c:pt idx="6">
                  <c:v>0.61899999999999999</c:v>
                </c:pt>
                <c:pt idx="7">
                  <c:v>0.91</c:v>
                </c:pt>
                <c:pt idx="8">
                  <c:v>0.94899999999999995</c:v>
                </c:pt>
                <c:pt idx="9">
                  <c:v>0.82599999999999996</c:v>
                </c:pt>
                <c:pt idx="10">
                  <c:v>0.97499999999999998</c:v>
                </c:pt>
                <c:pt idx="11">
                  <c:v>0.98499999999999999</c:v>
                </c:pt>
                <c:pt idx="12">
                  <c:v>0.83799999999999997</c:v>
                </c:pt>
                <c:pt idx="13">
                  <c:v>0.78200000000000003</c:v>
                </c:pt>
                <c:pt idx="14">
                  <c:v>0.84899999999999998</c:v>
                </c:pt>
                <c:pt idx="15">
                  <c:v>0.94199999999999995</c:v>
                </c:pt>
                <c:pt idx="16">
                  <c:v>0.89700000000000002</c:v>
                </c:pt>
                <c:pt idx="17">
                  <c:v>0.85199999999999998</c:v>
                </c:pt>
                <c:pt idx="18">
                  <c:v>0.92100000000000004</c:v>
                </c:pt>
                <c:pt idx="19">
                  <c:v>0.96299999999999997</c:v>
                </c:pt>
                <c:pt idx="20">
                  <c:v>0.626</c:v>
                </c:pt>
                <c:pt idx="21">
                  <c:v>0.73499999999999999</c:v>
                </c:pt>
                <c:pt idx="22">
                  <c:v>0.65300000000000002</c:v>
                </c:pt>
                <c:pt idx="23">
                  <c:v>0.95</c:v>
                </c:pt>
                <c:pt idx="24">
                  <c:v>0.98699999999999999</c:v>
                </c:pt>
                <c:pt idx="25">
                  <c:v>0.94699999999999995</c:v>
                </c:pt>
                <c:pt idx="26">
                  <c:v>0.80400000000000005</c:v>
                </c:pt>
                <c:pt idx="27">
                  <c:v>0.78500000000000003</c:v>
                </c:pt>
                <c:pt idx="28">
                  <c:v>0.66500000000000004</c:v>
                </c:pt>
                <c:pt idx="29">
                  <c:v>0.63200000000000001</c:v>
                </c:pt>
                <c:pt idx="30">
                  <c:v>0.73799999999999999</c:v>
                </c:pt>
                <c:pt idx="31">
                  <c:v>0.81799999999999995</c:v>
                </c:pt>
                <c:pt idx="32">
                  <c:v>0.93899999999999995</c:v>
                </c:pt>
                <c:pt idx="33">
                  <c:v>0.86</c:v>
                </c:pt>
                <c:pt idx="34">
                  <c:v>0.84499999999999997</c:v>
                </c:pt>
                <c:pt idx="35">
                  <c:v>0.89100000000000001</c:v>
                </c:pt>
                <c:pt idx="36">
                  <c:v>0.60599999999999998</c:v>
                </c:pt>
                <c:pt idx="37">
                  <c:v>0.43099999999999999</c:v>
                </c:pt>
                <c:pt idx="38">
                  <c:v>0.85699999999999998</c:v>
                </c:pt>
                <c:pt idx="39">
                  <c:v>0.85199999999999998</c:v>
                </c:pt>
                <c:pt idx="40">
                  <c:v>0.83399999999999996</c:v>
                </c:pt>
                <c:pt idx="41">
                  <c:v>0.79300000000000004</c:v>
                </c:pt>
                <c:pt idx="42">
                  <c:v>0.54700000000000004</c:v>
                </c:pt>
                <c:pt idx="43">
                  <c:v>0.95</c:v>
                </c:pt>
                <c:pt idx="44">
                  <c:v>0.60899999999999999</c:v>
                </c:pt>
                <c:pt idx="45">
                  <c:v>0.59899999999999998</c:v>
                </c:pt>
                <c:pt idx="46">
                  <c:v>0.66600000000000004</c:v>
                </c:pt>
                <c:pt idx="47">
                  <c:v>0.98799999999999999</c:v>
                </c:pt>
                <c:pt idx="48">
                  <c:v>0.89100000000000001</c:v>
                </c:pt>
                <c:pt idx="49">
                  <c:v>0.82399999999999995</c:v>
                </c:pt>
                <c:pt idx="50">
                  <c:v>0.91100000000000003</c:v>
                </c:pt>
                <c:pt idx="51">
                  <c:v>0.78200000000000003</c:v>
                </c:pt>
                <c:pt idx="52">
                  <c:v>0.64600000000000002</c:v>
                </c:pt>
                <c:pt idx="53">
                  <c:v>0.88</c:v>
                </c:pt>
                <c:pt idx="54">
                  <c:v>0.95899999999999996</c:v>
                </c:pt>
                <c:pt idx="55">
                  <c:v>0.44800000000000001</c:v>
                </c:pt>
                <c:pt idx="56">
                  <c:v>0.89700000000000002</c:v>
                </c:pt>
                <c:pt idx="57">
                  <c:v>0.89600000000000002</c:v>
                </c:pt>
                <c:pt idx="58">
                  <c:v>0.95299999999999996</c:v>
                </c:pt>
                <c:pt idx="59">
                  <c:v>0.60699999999999998</c:v>
                </c:pt>
                <c:pt idx="60">
                  <c:v>0.93799999999999994</c:v>
                </c:pt>
                <c:pt idx="61">
                  <c:v>0.63400000000000001</c:v>
                </c:pt>
                <c:pt idx="62">
                  <c:v>0.56200000000000006</c:v>
                </c:pt>
                <c:pt idx="63">
                  <c:v>0.70099999999999996</c:v>
                </c:pt>
                <c:pt idx="64">
                  <c:v>0.875</c:v>
                </c:pt>
                <c:pt idx="65">
                  <c:v>0.61299999999999999</c:v>
                </c:pt>
                <c:pt idx="66">
                  <c:v>0.877</c:v>
                </c:pt>
                <c:pt idx="67">
                  <c:v>0.873</c:v>
                </c:pt>
                <c:pt idx="68">
                  <c:v>0.63200000000000001</c:v>
                </c:pt>
                <c:pt idx="69">
                  <c:v>0.54500000000000004</c:v>
                </c:pt>
                <c:pt idx="70">
                  <c:v>0.751</c:v>
                </c:pt>
                <c:pt idx="71">
                  <c:v>0.65200000000000002</c:v>
                </c:pt>
                <c:pt idx="72">
                  <c:v>0.62</c:v>
                </c:pt>
                <c:pt idx="73">
                  <c:v>0.65100000000000002</c:v>
                </c:pt>
                <c:pt idx="74">
                  <c:v>0.58399999999999996</c:v>
                </c:pt>
                <c:pt idx="75">
                  <c:v>0.52600000000000002</c:v>
                </c:pt>
                <c:pt idx="76">
                  <c:v>0.80500000000000005</c:v>
                </c:pt>
                <c:pt idx="77">
                  <c:v>0.32600000000000001</c:v>
                </c:pt>
                <c:pt idx="78">
                  <c:v>0.77700000000000002</c:v>
                </c:pt>
                <c:pt idx="79">
                  <c:v>0.97799999999999998</c:v>
                </c:pt>
                <c:pt idx="80">
                  <c:v>0.82199999999999995</c:v>
                </c:pt>
                <c:pt idx="81">
                  <c:v>0.433</c:v>
                </c:pt>
                <c:pt idx="82">
                  <c:v>0.65400000000000003</c:v>
                </c:pt>
                <c:pt idx="83">
                  <c:v>0.38500000000000001</c:v>
                </c:pt>
                <c:pt idx="84">
                  <c:v>0.76</c:v>
                </c:pt>
                <c:pt idx="85">
                  <c:v>0.46600000000000003</c:v>
                </c:pt>
                <c:pt idx="86">
                  <c:v>0.79300000000000004</c:v>
                </c:pt>
                <c:pt idx="87">
                  <c:v>0.19800000000000001</c:v>
                </c:pt>
                <c:pt idx="88">
                  <c:v>0.75900000000000001</c:v>
                </c:pt>
                <c:pt idx="89">
                  <c:v>0.23599999999999999</c:v>
                </c:pt>
                <c:pt idx="90">
                  <c:v>0.57299999999999995</c:v>
                </c:pt>
                <c:pt idx="91">
                  <c:v>0.433</c:v>
                </c:pt>
                <c:pt idx="92">
                  <c:v>0.80200000000000005</c:v>
                </c:pt>
                <c:pt idx="93">
                  <c:v>0.52400000000000002</c:v>
                </c:pt>
                <c:pt idx="94">
                  <c:v>0.28699999999999998</c:v>
                </c:pt>
                <c:pt idx="95">
                  <c:v>0.68200000000000005</c:v>
                </c:pt>
                <c:pt idx="96">
                  <c:v>0.16900000000000001</c:v>
                </c:pt>
                <c:pt idx="97">
                  <c:v>0.7</c:v>
                </c:pt>
                <c:pt idx="98">
                  <c:v>0.73299999999999998</c:v>
                </c:pt>
                <c:pt idx="99">
                  <c:v>0.72199999999999998</c:v>
                </c:pt>
                <c:pt idx="100">
                  <c:v>0.45400000000000001</c:v>
                </c:pt>
                <c:pt idx="101">
                  <c:v>0.61199999999999999</c:v>
                </c:pt>
                <c:pt idx="102">
                  <c:v>0.68899999999999995</c:v>
                </c:pt>
                <c:pt idx="103">
                  <c:v>0.753</c:v>
                </c:pt>
                <c:pt idx="104">
                  <c:v>0.35</c:v>
                </c:pt>
                <c:pt idx="105">
                  <c:v>0.54400000000000004</c:v>
                </c:pt>
                <c:pt idx="106">
                  <c:v>0.42899999999999999</c:v>
                </c:pt>
                <c:pt idx="107">
                  <c:v>0.84399999999999997</c:v>
                </c:pt>
                <c:pt idx="108">
                  <c:v>0.89600000000000002</c:v>
                </c:pt>
                <c:pt idx="109">
                  <c:v>0.81699999999999995</c:v>
                </c:pt>
                <c:pt idx="110">
                  <c:v>0.59599999999999997</c:v>
                </c:pt>
                <c:pt idx="111">
                  <c:v>0.63400000000000001</c:v>
                </c:pt>
                <c:pt idx="112">
                  <c:v>0.72199999999999998</c:v>
                </c:pt>
                <c:pt idx="113">
                  <c:v>0.63</c:v>
                </c:pt>
                <c:pt idx="114">
                  <c:v>0.3</c:v>
                </c:pt>
                <c:pt idx="115">
                  <c:v>0.7</c:v>
                </c:pt>
                <c:pt idx="116">
                  <c:v>0.53400000000000003</c:v>
                </c:pt>
                <c:pt idx="117">
                  <c:v>0.498</c:v>
                </c:pt>
                <c:pt idx="118">
                  <c:v>0.32300000000000001</c:v>
                </c:pt>
                <c:pt idx="119">
                  <c:v>0.38600000000000001</c:v>
                </c:pt>
                <c:pt idx="120">
                  <c:v>0.16700000000000001</c:v>
                </c:pt>
                <c:pt idx="121">
                  <c:v>0.65500000000000003</c:v>
                </c:pt>
                <c:pt idx="122">
                  <c:v>0.52500000000000002</c:v>
                </c:pt>
                <c:pt idx="123">
                  <c:v>0.17499999999999999</c:v>
                </c:pt>
                <c:pt idx="124">
                  <c:v>5.6000000000000001E-2</c:v>
                </c:pt>
                <c:pt idx="125">
                  <c:v>4.5999999999999999E-2</c:v>
                </c:pt>
                <c:pt idx="126">
                  <c:v>0.11700000000000001</c:v>
                </c:pt>
                <c:pt idx="127">
                  <c:v>6.4000000000000001E-2</c:v>
                </c:pt>
                <c:pt idx="128">
                  <c:v>3.5999999999999997E-2</c:v>
                </c:pt>
                <c:pt idx="129">
                  <c:v>0.32200000000000001</c:v>
                </c:pt>
                <c:pt idx="130">
                  <c:v>1.7999999999999999E-2</c:v>
                </c:pt>
                <c:pt idx="131">
                  <c:v>8.9999999999999993E-3</c:v>
                </c:pt>
                <c:pt idx="132">
                  <c:v>8.9999999999999993E-3</c:v>
                </c:pt>
                <c:pt idx="133">
                  <c:v>0.01</c:v>
                </c:pt>
                <c:pt idx="134">
                  <c:v>0.01</c:v>
                </c:pt>
                <c:pt idx="135">
                  <c:v>2E-3</c:v>
                </c:pt>
                <c:pt idx="136">
                  <c:v>1E-3</c:v>
                </c:pt>
                <c:pt idx="137">
                  <c:v>4.0000000000000001E-3</c:v>
                </c:pt>
                <c:pt idx="138">
                  <c:v>1E-3</c:v>
                </c:pt>
                <c:pt idx="139">
                  <c:v>1E-3</c:v>
                </c:pt>
                <c:pt idx="140">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2</c:f>
              <c:strCache>
                <c:ptCount val="141"/>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Bic</c:v>
                </c:pt>
                <c:pt idx="26">
                  <c:v>Gillette</c:v>
                </c:pt>
                <c:pt idx="27">
                  <c:v>Schick</c:v>
                </c:pt>
                <c:pt idx="28">
                  <c:v>Gillette</c:v>
                </c:pt>
                <c:pt idx="29">
                  <c:v>Gillette</c:v>
                </c:pt>
                <c:pt idx="30">
                  <c:v>Gillette</c:v>
                </c:pt>
                <c:pt idx="31">
                  <c:v>Bic</c:v>
                </c:pt>
                <c:pt idx="32">
                  <c:v>Schick</c:v>
                </c:pt>
                <c:pt idx="33">
                  <c:v>Dollar Shav</c:v>
                </c:pt>
                <c:pt idx="34">
                  <c:v>Equate</c:v>
                </c:pt>
                <c:pt idx="35">
                  <c:v>Dollar Shav</c:v>
                </c:pt>
                <c:pt idx="36">
                  <c:v>Gillette</c:v>
                </c:pt>
                <c:pt idx="37">
                  <c:v>Gillette</c:v>
                </c:pt>
                <c:pt idx="38">
                  <c:v>Schick</c:v>
                </c:pt>
                <c:pt idx="39">
                  <c:v>Schick</c:v>
                </c:pt>
                <c:pt idx="40">
                  <c:v>Harry's</c:v>
                </c:pt>
                <c:pt idx="41">
                  <c:v>Gillette</c:v>
                </c:pt>
                <c:pt idx="42">
                  <c:v>Gillette</c:v>
                </c:pt>
                <c:pt idx="43">
                  <c:v>Schick</c:v>
                </c:pt>
                <c:pt idx="44">
                  <c:v>Gillette</c:v>
                </c:pt>
                <c:pt idx="45">
                  <c:v>Bic</c:v>
                </c:pt>
                <c:pt idx="46">
                  <c:v>Gillette</c:v>
                </c:pt>
                <c:pt idx="47">
                  <c:v>Equate</c:v>
                </c:pt>
                <c:pt idx="48">
                  <c:v>Gillette</c:v>
                </c:pt>
                <c:pt idx="49">
                  <c:v>Gillette</c:v>
                </c:pt>
                <c:pt idx="50">
                  <c:v>Equate</c:v>
                </c:pt>
                <c:pt idx="51">
                  <c:v>Bic</c:v>
                </c:pt>
                <c:pt idx="52">
                  <c:v>Gillette</c:v>
                </c:pt>
                <c:pt idx="53">
                  <c:v>Bic</c:v>
                </c:pt>
                <c:pt idx="54">
                  <c:v>Equate</c:v>
                </c:pt>
                <c:pt idx="55">
                  <c:v>Schick</c:v>
                </c:pt>
                <c:pt idx="56">
                  <c:v>Bic</c:v>
                </c:pt>
                <c:pt idx="57">
                  <c:v>Bic</c:v>
                </c:pt>
                <c:pt idx="58">
                  <c:v>Bic</c:v>
                </c:pt>
                <c:pt idx="59">
                  <c:v>Van Der Hag</c:v>
                </c:pt>
                <c:pt idx="60">
                  <c:v>Equate</c:v>
                </c:pt>
                <c:pt idx="61">
                  <c:v>Gillette</c:v>
                </c:pt>
                <c:pt idx="62">
                  <c:v>Dollar Shav</c:v>
                </c:pt>
                <c:pt idx="63">
                  <c:v>Schick</c:v>
                </c:pt>
                <c:pt idx="64">
                  <c:v>Comfort 3</c:v>
                </c:pt>
                <c:pt idx="65">
                  <c:v>Gillette</c:v>
                </c:pt>
                <c:pt idx="66">
                  <c:v>Bic</c:v>
                </c:pt>
                <c:pt idx="67">
                  <c:v>Van Der Hag</c:v>
                </c:pt>
                <c:pt idx="68">
                  <c:v>Gillette</c:v>
                </c:pt>
                <c:pt idx="69">
                  <c:v>Gillette</c:v>
                </c:pt>
                <c:pt idx="70">
                  <c:v>Equate</c:v>
                </c:pt>
                <c:pt idx="71">
                  <c:v>Gillette</c:v>
                </c:pt>
                <c:pt idx="72">
                  <c:v>Comfort 3</c:v>
                </c:pt>
                <c:pt idx="73">
                  <c:v>Gillette</c:v>
                </c:pt>
                <c:pt idx="74">
                  <c:v>Equate</c:v>
                </c:pt>
                <c:pt idx="75">
                  <c:v>Harry's</c:v>
                </c:pt>
                <c:pt idx="76">
                  <c:v>Bic</c:v>
                </c:pt>
                <c:pt idx="77">
                  <c:v>Gillette</c:v>
                </c:pt>
                <c:pt idx="78">
                  <c:v>Gillette</c:v>
                </c:pt>
                <c:pt idx="79">
                  <c:v>Equate</c:v>
                </c:pt>
                <c:pt idx="80">
                  <c:v>Bic</c:v>
                </c:pt>
                <c:pt idx="81">
                  <c:v>Gillette</c:v>
                </c:pt>
                <c:pt idx="82">
                  <c:v>Bic</c:v>
                </c:pt>
                <c:pt idx="83">
                  <c:v>Gillette</c:v>
                </c:pt>
                <c:pt idx="84">
                  <c:v>Bic</c:v>
                </c:pt>
                <c:pt idx="85">
                  <c:v>Gillette</c:v>
                </c:pt>
                <c:pt idx="86">
                  <c:v>Schick</c:v>
                </c:pt>
                <c:pt idx="87">
                  <c:v>Gillette</c:v>
                </c:pt>
                <c:pt idx="88">
                  <c:v>Schick</c:v>
                </c:pt>
                <c:pt idx="89">
                  <c:v>Harry's</c:v>
                </c:pt>
                <c:pt idx="90">
                  <c:v>Gillette</c:v>
                </c:pt>
                <c:pt idx="91">
                  <c:v>Gillette</c:v>
                </c:pt>
                <c:pt idx="92">
                  <c:v>Bic</c:v>
                </c:pt>
                <c:pt idx="93">
                  <c:v>Bic</c:v>
                </c:pt>
                <c:pt idx="94">
                  <c:v>Gillette</c:v>
                </c:pt>
                <c:pt idx="95">
                  <c:v>Gillette</c:v>
                </c:pt>
                <c:pt idx="96">
                  <c:v>Gillette</c:v>
                </c:pt>
                <c:pt idx="97">
                  <c:v>Harry's</c:v>
                </c:pt>
                <c:pt idx="98">
                  <c:v>Gillette</c:v>
                </c:pt>
                <c:pt idx="99">
                  <c:v>Gillette</c:v>
                </c:pt>
                <c:pt idx="100">
                  <c:v>Bic</c:v>
                </c:pt>
                <c:pt idx="101">
                  <c:v>Gillette</c:v>
                </c:pt>
                <c:pt idx="102">
                  <c:v>Equate</c:v>
                </c:pt>
                <c:pt idx="103">
                  <c:v>Bic</c:v>
                </c:pt>
                <c:pt idx="104">
                  <c:v>Gillette</c:v>
                </c:pt>
                <c:pt idx="105">
                  <c:v>Gillette</c:v>
                </c:pt>
                <c:pt idx="106">
                  <c:v>Gillette</c:v>
                </c:pt>
                <c:pt idx="107">
                  <c:v>Schick</c:v>
                </c:pt>
                <c:pt idx="108">
                  <c:v>Schick</c:v>
                </c:pt>
                <c:pt idx="109">
                  <c:v>Bic</c:v>
                </c:pt>
                <c:pt idx="110">
                  <c:v>Gillette</c:v>
                </c:pt>
                <c:pt idx="111">
                  <c:v>Schick</c:v>
                </c:pt>
                <c:pt idx="112">
                  <c:v>Bic</c:v>
                </c:pt>
                <c:pt idx="113">
                  <c:v>Dollar Shav</c:v>
                </c:pt>
                <c:pt idx="114">
                  <c:v>Gillette</c:v>
                </c:pt>
                <c:pt idx="115">
                  <c:v>Bic</c:v>
                </c:pt>
                <c:pt idx="116">
                  <c:v>Gillette</c:v>
                </c:pt>
                <c:pt idx="117">
                  <c:v>Bic</c:v>
                </c:pt>
                <c:pt idx="118">
                  <c:v>Gillette</c:v>
                </c:pt>
                <c:pt idx="119">
                  <c:v>Gillette</c:v>
                </c:pt>
                <c:pt idx="120">
                  <c:v>Gillette</c:v>
                </c:pt>
                <c:pt idx="121">
                  <c:v>Harry's</c:v>
                </c:pt>
                <c:pt idx="122">
                  <c:v>Harry's</c:v>
                </c:pt>
                <c:pt idx="123">
                  <c:v>Gillette</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pt idx="135">
                  <c:v>Bic</c:v>
                </c:pt>
                <c:pt idx="136">
                  <c:v>Harry's</c:v>
                </c:pt>
                <c:pt idx="137">
                  <c:v>Equate</c:v>
                </c:pt>
                <c:pt idx="138">
                  <c:v>Dollar Shav</c:v>
                </c:pt>
                <c:pt idx="139">
                  <c:v>Dollar Shav</c:v>
                </c:pt>
                <c:pt idx="140">
                  <c:v>Schick</c:v>
                </c:pt>
              </c:strCache>
            </c:strRef>
          </c:cat>
          <c:val>
            <c:numRef>
              <c:f>Sheet1!$C$2:$C$142</c:f>
              <c:numCache>
                <c:formatCode>General</c:formatCode>
                <c:ptCount val="141"/>
                <c:pt idx="0">
                  <c:v>5.5338531387806152E-2</c:v>
                </c:pt>
                <c:pt idx="1">
                  <c:v>0.10790650810667221</c:v>
                </c:pt>
                <c:pt idx="2">
                  <c:v>0.14388799964068727</c:v>
                </c:pt>
                <c:pt idx="3">
                  <c:v>0.17146433485114362</c:v>
                </c:pt>
                <c:pt idx="4">
                  <c:v>0.1984780917301307</c:v>
                </c:pt>
                <c:pt idx="5">
                  <c:v>0.22512293380616138</c:v>
                </c:pt>
                <c:pt idx="6">
                  <c:v>0.24857341977608077</c:v>
                </c:pt>
                <c:pt idx="7">
                  <c:v>0.27093768250167199</c:v>
                </c:pt>
                <c:pt idx="8">
                  <c:v>0.29303024590441645</c:v>
                </c:pt>
                <c:pt idx="9">
                  <c:v>0.31243374082179159</c:v>
                </c:pt>
                <c:pt idx="10">
                  <c:v>0.33031069397314344</c:v>
                </c:pt>
                <c:pt idx="11">
                  <c:v>0.34812722765373427</c:v>
                </c:pt>
                <c:pt idx="12">
                  <c:v>0.36567226150300941</c:v>
                </c:pt>
                <c:pt idx="13">
                  <c:v>0.3813309746811781</c:v>
                </c:pt>
                <c:pt idx="14">
                  <c:v>0.39696321451891869</c:v>
                </c:pt>
                <c:pt idx="15">
                  <c:v>0.41236691848713342</c:v>
                </c:pt>
                <c:pt idx="16">
                  <c:v>0.42683268045183542</c:v>
                </c:pt>
                <c:pt idx="17">
                  <c:v>0.44102990442377027</c:v>
                </c:pt>
                <c:pt idx="18">
                  <c:v>0.45411180381537075</c:v>
                </c:pt>
                <c:pt idx="19">
                  <c:v>0.46658849475668263</c:v>
                </c:pt>
                <c:pt idx="20">
                  <c:v>0.47900073364842621</c:v>
                </c:pt>
                <c:pt idx="21">
                  <c:v>0.49113265029767267</c:v>
                </c:pt>
                <c:pt idx="22">
                  <c:v>0.50320277139171909</c:v>
                </c:pt>
                <c:pt idx="23">
                  <c:v>0.51502947414089395</c:v>
                </c:pt>
                <c:pt idx="24">
                  <c:v>0.52661644099601113</c:v>
                </c:pt>
                <c:pt idx="25">
                  <c:v>0.53804617799020349</c:v>
                </c:pt>
                <c:pt idx="26">
                  <c:v>0.54907200977401005</c:v>
                </c:pt>
                <c:pt idx="27">
                  <c:v>0.56000898233010665</c:v>
                </c:pt>
                <c:pt idx="28">
                  <c:v>0.5706863899410799</c:v>
                </c:pt>
                <c:pt idx="29">
                  <c:v>0.5811983356120286</c:v>
                </c:pt>
                <c:pt idx="30">
                  <c:v>0.59142946234728022</c:v>
                </c:pt>
                <c:pt idx="31">
                  <c:v>0.60162622157723022</c:v>
                </c:pt>
                <c:pt idx="32">
                  <c:v>0.61167647056261021</c:v>
                </c:pt>
                <c:pt idx="33">
                  <c:v>0.62106479239840517</c:v>
                </c:pt>
                <c:pt idx="34">
                  <c:v>0.63039163827257549</c:v>
                </c:pt>
                <c:pt idx="35">
                  <c:v>0.63970371566656081</c:v>
                </c:pt>
                <c:pt idx="36">
                  <c:v>0.64899685357885883</c:v>
                </c:pt>
                <c:pt idx="37">
                  <c:v>0.65804661793009844</c:v>
                </c:pt>
                <c:pt idx="38">
                  <c:v>0.66700353525863387</c:v>
                </c:pt>
                <c:pt idx="39">
                  <c:v>0.67550098898537225</c:v>
                </c:pt>
                <c:pt idx="40">
                  <c:v>0.68388298189941676</c:v>
                </c:pt>
                <c:pt idx="41">
                  <c:v>0.69221477419459942</c:v>
                </c:pt>
                <c:pt idx="42">
                  <c:v>0.70049324728902596</c:v>
                </c:pt>
                <c:pt idx="43">
                  <c:v>0.70873965924452575</c:v>
                </c:pt>
                <c:pt idx="44">
                  <c:v>0.71682162910956304</c:v>
                </c:pt>
                <c:pt idx="45">
                  <c:v>0.72482803850375443</c:v>
                </c:pt>
                <c:pt idx="46">
                  <c:v>0.73269537176635102</c:v>
                </c:pt>
                <c:pt idx="47">
                  <c:v>0.74053567799773934</c:v>
                </c:pt>
                <c:pt idx="48">
                  <c:v>0.74819378739239728</c:v>
                </c:pt>
                <c:pt idx="49">
                  <c:v>0.75577202689201195</c:v>
                </c:pt>
                <c:pt idx="50">
                  <c:v>0.76313426591851408</c:v>
                </c:pt>
                <c:pt idx="51">
                  <c:v>0.77045145446466146</c:v>
                </c:pt>
                <c:pt idx="52">
                  <c:v>0.77775584094714467</c:v>
                </c:pt>
                <c:pt idx="53">
                  <c:v>0.78503982026024743</c:v>
                </c:pt>
                <c:pt idx="54">
                  <c:v>0.79230001122608051</c:v>
                </c:pt>
                <c:pt idx="55">
                  <c:v>0.79923025541324133</c:v>
                </c:pt>
                <c:pt idx="56">
                  <c:v>0.80596350985595233</c:v>
                </c:pt>
                <c:pt idx="57">
                  <c:v>0.81268980041572569</c:v>
                </c:pt>
                <c:pt idx="58">
                  <c:v>0.81939671383382007</c:v>
                </c:pt>
                <c:pt idx="59">
                  <c:v>0.82609063383923065</c:v>
                </c:pt>
                <c:pt idx="60">
                  <c:v>0.83271510229302825</c:v>
                </c:pt>
                <c:pt idx="61">
                  <c:v>0.83930379662266708</c:v>
                </c:pt>
                <c:pt idx="62">
                  <c:v>0.8456638533013866</c:v>
                </c:pt>
                <c:pt idx="63">
                  <c:v>0.85178259443882265</c:v>
                </c:pt>
                <c:pt idx="64">
                  <c:v>0.85775867063273203</c:v>
                </c:pt>
                <c:pt idx="65">
                  <c:v>0.86371962211157949</c:v>
                </c:pt>
                <c:pt idx="66">
                  <c:v>0.86909500894906799</c:v>
                </c:pt>
                <c:pt idx="67">
                  <c:v>0.87438086276602212</c:v>
                </c:pt>
                <c:pt idx="68">
                  <c:v>0.87965473487734303</c:v>
                </c:pt>
                <c:pt idx="69">
                  <c:v>0.88474844374417405</c:v>
                </c:pt>
                <c:pt idx="70">
                  <c:v>0.88958162481389991</c:v>
                </c:pt>
                <c:pt idx="71">
                  <c:v>0.894291395944106</c:v>
                </c:pt>
                <c:pt idx="72">
                  <c:v>0.89889580908272904</c:v>
                </c:pt>
                <c:pt idx="73">
                  <c:v>0.90349013161400848</c:v>
                </c:pt>
                <c:pt idx="74">
                  <c:v>0.90807133859493205</c:v>
                </c:pt>
                <c:pt idx="75">
                  <c:v>0.91202654522251947</c:v>
                </c:pt>
                <c:pt idx="76">
                  <c:v>0.91593088150967639</c:v>
                </c:pt>
                <c:pt idx="77">
                  <c:v>0.9198333063422649</c:v>
                </c:pt>
                <c:pt idx="78">
                  <c:v>0.92347383747144862</c:v>
                </c:pt>
                <c:pt idx="79">
                  <c:v>0.92704212416758391</c:v>
                </c:pt>
                <c:pt idx="80">
                  <c:v>0.93036171617141294</c:v>
                </c:pt>
                <c:pt idx="81">
                  <c:v>0.93367721656322655</c:v>
                </c:pt>
                <c:pt idx="82">
                  <c:v>0.9368985284535708</c:v>
                </c:pt>
                <c:pt idx="83">
                  <c:v>0.93984944382290403</c:v>
                </c:pt>
                <c:pt idx="84">
                  <c:v>0.94275485273123982</c:v>
                </c:pt>
                <c:pt idx="85">
                  <c:v>0.94562285697749437</c:v>
                </c:pt>
                <c:pt idx="86">
                  <c:v>0.9483963368436813</c:v>
                </c:pt>
                <c:pt idx="87">
                  <c:v>0.95090721664359312</c:v>
                </c:pt>
                <c:pt idx="88">
                  <c:v>0.95321613366017266</c:v>
                </c:pt>
                <c:pt idx="89">
                  <c:v>0.95549269437178452</c:v>
                </c:pt>
                <c:pt idx="90">
                  <c:v>0.95772947484359272</c:v>
                </c:pt>
                <c:pt idx="91">
                  <c:v>0.95993256567417951</c:v>
                </c:pt>
                <c:pt idx="92">
                  <c:v>0.96208808591711037</c:v>
                </c:pt>
                <c:pt idx="93">
                  <c:v>0.96423194811923907</c:v>
                </c:pt>
                <c:pt idx="94">
                  <c:v>0.96632200256992318</c:v>
                </c:pt>
                <c:pt idx="95">
                  <c:v>0.96832290466248427</c:v>
                </c:pt>
                <c:pt idx="96">
                  <c:v>0.97028777410614742</c:v>
                </c:pt>
                <c:pt idx="97">
                  <c:v>0.97224872700179188</c:v>
                </c:pt>
                <c:pt idx="98">
                  <c:v>0.97409491323384556</c:v>
                </c:pt>
                <c:pt idx="99">
                  <c:v>0.97578794493196686</c:v>
                </c:pt>
                <c:pt idx="100">
                  <c:v>0.97723906464983923</c:v>
                </c:pt>
                <c:pt idx="101">
                  <c:v>0.97868543524789475</c:v>
                </c:pt>
                <c:pt idx="102">
                  <c:v>0.98012072388783489</c:v>
                </c:pt>
                <c:pt idx="103">
                  <c:v>0.98154092038275886</c:v>
                </c:pt>
                <c:pt idx="104">
                  <c:v>0.98277253020507371</c:v>
                </c:pt>
                <c:pt idx="105">
                  <c:v>0.98398611250698631</c:v>
                </c:pt>
                <c:pt idx="106">
                  <c:v>0.98518064540330674</c:v>
                </c:pt>
                <c:pt idx="107">
                  <c:v>0.98634954363788074</c:v>
                </c:pt>
                <c:pt idx="108">
                  <c:v>0.98744568038992786</c:v>
                </c:pt>
                <c:pt idx="109">
                  <c:v>0.9885267738520277</c:v>
                </c:pt>
                <c:pt idx="110">
                  <c:v>0.98950475054882758</c:v>
                </c:pt>
                <c:pt idx="111">
                  <c:v>0.99044190272872734</c:v>
                </c:pt>
                <c:pt idx="112">
                  <c:v>0.99135391694008057</c:v>
                </c:pt>
                <c:pt idx="113">
                  <c:v>0.99225165122193726</c:v>
                </c:pt>
                <c:pt idx="114">
                  <c:v>0.99311399407767453</c:v>
                </c:pt>
                <c:pt idx="115">
                  <c:v>0.99389469604212299</c:v>
                </c:pt>
                <c:pt idx="116">
                  <c:v>0.99467130843018392</c:v>
                </c:pt>
                <c:pt idx="117">
                  <c:v>0.99543543020564451</c:v>
                </c:pt>
                <c:pt idx="118">
                  <c:v>0.99613777678218374</c:v>
                </c:pt>
                <c:pt idx="119">
                  <c:v>0.99680221182530249</c:v>
                </c:pt>
                <c:pt idx="120">
                  <c:v>0.99737800341726535</c:v>
                </c:pt>
                <c:pt idx="121">
                  <c:v>0.9979530723613349</c:v>
                </c:pt>
                <c:pt idx="122">
                  <c:v>0.99845506633618586</c:v>
                </c:pt>
                <c:pt idx="123">
                  <c:v>0.99894257478312543</c:v>
                </c:pt>
                <c:pt idx="124">
                  <c:v>0.99918671781151813</c:v>
                </c:pt>
                <c:pt idx="125">
                  <c:v>0.99939259917849699</c:v>
                </c:pt>
                <c:pt idx="126">
                  <c:v>0.99957420568314559</c:v>
                </c:pt>
                <c:pt idx="127">
                  <c:v>0.99966214887831484</c:v>
                </c:pt>
                <c:pt idx="128">
                  <c:v>0.99973348542133389</c:v>
                </c:pt>
                <c:pt idx="129">
                  <c:v>0.99979465400315048</c:v>
                </c:pt>
                <c:pt idx="130">
                  <c:v>0.99981847084921038</c:v>
                </c:pt>
                <c:pt idx="131">
                  <c:v>0.99983526681475232</c:v>
                </c:pt>
                <c:pt idx="132">
                  <c:v>0.99984954470862109</c:v>
                </c:pt>
                <c:pt idx="133">
                  <c:v>0.99986103379231017</c:v>
                </c:pt>
                <c:pt idx="134">
                  <c:v>0.99988084248709719</c:v>
                </c:pt>
                <c:pt idx="135">
                  <c:v>0.99989033258421955</c:v>
                </c:pt>
                <c:pt idx="136">
                  <c:v>0.99990703491087951</c:v>
                </c:pt>
                <c:pt idx="137">
                  <c:v>0.99992071025889928</c:v>
                </c:pt>
                <c:pt idx="138">
                  <c:v>0.99993020035602154</c:v>
                </c:pt>
                <c:pt idx="139">
                  <c:v>0.99994933118672846</c:v>
                </c:pt>
                <c:pt idx="140">
                  <c:v>0.999951877757191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8</c:f>
              <c:strCache>
                <c:ptCount val="17"/>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strCache>
            </c:strRef>
          </c:cat>
          <c:val>
            <c:numRef>
              <c:f>Sheet1!$B$2:$B$18</c:f>
              <c:numCache>
                <c:formatCode>General</c:formatCode>
                <c:ptCount val="17"/>
                <c:pt idx="0">
                  <c:v>1</c:v>
                </c:pt>
                <c:pt idx="1">
                  <c:v>1</c:v>
                </c:pt>
                <c:pt idx="2">
                  <c:v>1</c:v>
                </c:pt>
                <c:pt idx="3">
                  <c:v>0.98</c:v>
                </c:pt>
                <c:pt idx="4">
                  <c:v>0.99</c:v>
                </c:pt>
                <c:pt idx="5">
                  <c:v>0.99</c:v>
                </c:pt>
                <c:pt idx="6">
                  <c:v>0.99</c:v>
                </c:pt>
                <c:pt idx="7">
                  <c:v>0.97</c:v>
                </c:pt>
                <c:pt idx="8">
                  <c:v>0.77</c:v>
                </c:pt>
                <c:pt idx="9">
                  <c:v>0.88</c:v>
                </c:pt>
                <c:pt idx="10">
                  <c:v>0.8</c:v>
                </c:pt>
                <c:pt idx="11">
                  <c:v>0.77</c:v>
                </c:pt>
                <c:pt idx="12">
                  <c:v>0.86</c:v>
                </c:pt>
                <c:pt idx="13">
                  <c:v>0.57999999999999996</c:v>
                </c:pt>
                <c:pt idx="14">
                  <c:v>0.6</c:v>
                </c:pt>
                <c:pt idx="15">
                  <c:v>0.3</c:v>
                </c:pt>
                <c:pt idx="1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8</c:f>
              <c:strCache>
                <c:ptCount val="17"/>
                <c:pt idx="0">
                  <c:v>Gillette</c:v>
                </c:pt>
                <c:pt idx="1">
                  <c:v>Gillette</c:v>
                </c:pt>
                <c:pt idx="2">
                  <c:v>Gillette</c:v>
                </c:pt>
                <c:pt idx="3">
                  <c:v>Gillette</c:v>
                </c:pt>
                <c:pt idx="4">
                  <c:v>Schick</c:v>
                </c:pt>
                <c:pt idx="5">
                  <c:v>Harry's</c:v>
                </c:pt>
                <c:pt idx="6">
                  <c:v>Gillette</c:v>
                </c:pt>
                <c:pt idx="7">
                  <c:v>Gillette</c:v>
                </c:pt>
                <c:pt idx="8">
                  <c:v>Gillette</c:v>
                </c:pt>
                <c:pt idx="9">
                  <c:v>Gillette</c:v>
                </c:pt>
                <c:pt idx="10">
                  <c:v>Bic</c:v>
                </c:pt>
                <c:pt idx="11">
                  <c:v>Gillette</c:v>
                </c:pt>
                <c:pt idx="12">
                  <c:v>Schick</c:v>
                </c:pt>
                <c:pt idx="13">
                  <c:v>Pbg Pl</c:v>
                </c:pt>
                <c:pt idx="14">
                  <c:v>Pbg Pl</c:v>
                </c:pt>
                <c:pt idx="15">
                  <c:v>Schick</c:v>
                </c:pt>
                <c:pt idx="16">
                  <c:v>Dollar Shav</c:v>
                </c:pt>
              </c:strCache>
            </c:strRef>
          </c:cat>
          <c:val>
            <c:numRef>
              <c:f>Sheet1!$C$2:$C$18</c:f>
              <c:numCache>
                <c:formatCode>General</c:formatCode>
                <c:ptCount val="17"/>
                <c:pt idx="0">
                  <c:v>0.34197166949411889</c:v>
                </c:pt>
                <c:pt idx="1">
                  <c:v>0.50139775994728908</c:v>
                </c:pt>
                <c:pt idx="2">
                  <c:v>0.62175475371289823</c:v>
                </c:pt>
                <c:pt idx="3">
                  <c:v>0.71278658132363515</c:v>
                </c:pt>
                <c:pt idx="4">
                  <c:v>0.78463873881366508</c:v>
                </c:pt>
                <c:pt idx="5">
                  <c:v>0.85006765698819409</c:v>
                </c:pt>
                <c:pt idx="6">
                  <c:v>0.90256437668607525</c:v>
                </c:pt>
                <c:pt idx="7">
                  <c:v>0.94152776084356848</c:v>
                </c:pt>
                <c:pt idx="8">
                  <c:v>0.95543288279813599</c:v>
                </c:pt>
                <c:pt idx="9">
                  <c:v>0.96738996150843015</c:v>
                </c:pt>
                <c:pt idx="10">
                  <c:v>0.97930666726956928</c:v>
                </c:pt>
                <c:pt idx="11">
                  <c:v>0.98835896073569196</c:v>
                </c:pt>
                <c:pt idx="12">
                  <c:v>0.9961211285369731</c:v>
                </c:pt>
                <c:pt idx="13">
                  <c:v>0.99824112824628786</c:v>
                </c:pt>
                <c:pt idx="14">
                  <c:v>0.99927399747911305</c:v>
                </c:pt>
                <c:pt idx="15">
                  <c:v>0.99998992291189093</c:v>
                </c:pt>
                <c:pt idx="16">
                  <c:v>0.9999987403639863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c:f>
              <c:strCache>
                <c:ptCount val="14"/>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strCache>
            </c:strRef>
          </c:cat>
          <c:val>
            <c:numRef>
              <c:f>Sheet1!$B$2:$B$15</c:f>
              <c:numCache>
                <c:formatCode>General</c:formatCode>
                <c:ptCount val="14"/>
                <c:pt idx="0">
                  <c:v>0.94</c:v>
                </c:pt>
                <c:pt idx="1">
                  <c:v>0.94</c:v>
                </c:pt>
                <c:pt idx="2">
                  <c:v>1</c:v>
                </c:pt>
                <c:pt idx="3">
                  <c:v>0.97</c:v>
                </c:pt>
                <c:pt idx="4">
                  <c:v>0.91</c:v>
                </c:pt>
                <c:pt idx="5">
                  <c:v>0.8</c:v>
                </c:pt>
                <c:pt idx="6">
                  <c:v>0.63</c:v>
                </c:pt>
                <c:pt idx="7">
                  <c:v>0.1</c:v>
                </c:pt>
                <c:pt idx="8">
                  <c:v>0.27</c:v>
                </c:pt>
                <c:pt idx="9">
                  <c:v>0.71</c:v>
                </c:pt>
                <c:pt idx="10">
                  <c:v>0.66</c:v>
                </c:pt>
                <c:pt idx="11">
                  <c:v>0.06</c:v>
                </c:pt>
                <c:pt idx="12">
                  <c:v>0.15</c:v>
                </c:pt>
                <c:pt idx="13">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5</c:f>
              <c:strCache>
                <c:ptCount val="14"/>
                <c:pt idx="0">
                  <c:v>Gillette</c:v>
                </c:pt>
                <c:pt idx="1">
                  <c:v>Gillette</c:v>
                </c:pt>
                <c:pt idx="2">
                  <c:v>Gillette</c:v>
                </c:pt>
                <c:pt idx="3">
                  <c:v>Schick</c:v>
                </c:pt>
                <c:pt idx="4">
                  <c:v>Gillette</c:v>
                </c:pt>
                <c:pt idx="5">
                  <c:v>Gillette</c:v>
                </c:pt>
                <c:pt idx="6">
                  <c:v>Gillette</c:v>
                </c:pt>
                <c:pt idx="7">
                  <c:v>Gillette</c:v>
                </c:pt>
                <c:pt idx="8">
                  <c:v>Gillette</c:v>
                </c:pt>
                <c:pt idx="9">
                  <c:v>Schick</c:v>
                </c:pt>
                <c:pt idx="10">
                  <c:v>Gillette</c:v>
                </c:pt>
                <c:pt idx="11">
                  <c:v>Bic</c:v>
                </c:pt>
                <c:pt idx="12">
                  <c:v>Gillette</c:v>
                </c:pt>
                <c:pt idx="13">
                  <c:v>Bic</c:v>
                </c:pt>
              </c:strCache>
            </c:strRef>
          </c:cat>
          <c:val>
            <c:numRef>
              <c:f>Sheet1!$C$2:$C$15</c:f>
              <c:numCache>
                <c:formatCode>General</c:formatCode>
                <c:ptCount val="14"/>
                <c:pt idx="0">
                  <c:v>0.38562323914737534</c:v>
                </c:pt>
                <c:pt idx="1">
                  <c:v>0.54243939605258507</c:v>
                </c:pt>
                <c:pt idx="2">
                  <c:v>0.68430976442792102</c:v>
                </c:pt>
                <c:pt idx="3">
                  <c:v>0.78223146345388439</c:v>
                </c:pt>
                <c:pt idx="4">
                  <c:v>0.85991571950230217</c:v>
                </c:pt>
                <c:pt idx="5">
                  <c:v>0.92271757568862911</c:v>
                </c:pt>
                <c:pt idx="6">
                  <c:v>0.96796316962928552</c:v>
                </c:pt>
                <c:pt idx="7">
                  <c:v>0.97589024014521386</c:v>
                </c:pt>
                <c:pt idx="8">
                  <c:v>0.98298531773864017</c:v>
                </c:pt>
                <c:pt idx="9">
                  <c:v>0.98829960465038724</c:v>
                </c:pt>
                <c:pt idx="10">
                  <c:v>0.9930626389202134</c:v>
                </c:pt>
                <c:pt idx="11">
                  <c:v>0.99711681508680505</c:v>
                </c:pt>
                <c:pt idx="12">
                  <c:v>0.99902908061744788</c:v>
                </c:pt>
                <c:pt idx="13">
                  <c:v>0.9998905246168525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0</c:f>
              <c:strCache>
                <c:ptCount val="139"/>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Bic</c:v>
                </c:pt>
                <c:pt idx="134">
                  <c:v>Harry's</c:v>
                </c:pt>
                <c:pt idx="135">
                  <c:v>Bic</c:v>
                </c:pt>
                <c:pt idx="136">
                  <c:v>Schick</c:v>
                </c:pt>
                <c:pt idx="137">
                  <c:v>Dollar Shav</c:v>
                </c:pt>
                <c:pt idx="138">
                  <c:v>Dollar Shav</c:v>
                </c:pt>
              </c:strCache>
            </c:strRef>
          </c:cat>
          <c:val>
            <c:numRef>
              <c:f>Sheet1!$B$2:$B$140</c:f>
              <c:numCache>
                <c:formatCode>General</c:formatCode>
                <c:ptCount val="139"/>
                <c:pt idx="0">
                  <c:v>0.99</c:v>
                </c:pt>
                <c:pt idx="1">
                  <c:v>0.99</c:v>
                </c:pt>
                <c:pt idx="2">
                  <c:v>0.99</c:v>
                </c:pt>
                <c:pt idx="3">
                  <c:v>0.88</c:v>
                </c:pt>
                <c:pt idx="4">
                  <c:v>0.93</c:v>
                </c:pt>
                <c:pt idx="5">
                  <c:v>0.94</c:v>
                </c:pt>
                <c:pt idx="6">
                  <c:v>0.9</c:v>
                </c:pt>
                <c:pt idx="7">
                  <c:v>0.87</c:v>
                </c:pt>
                <c:pt idx="8">
                  <c:v>0.52</c:v>
                </c:pt>
                <c:pt idx="9">
                  <c:v>0.95</c:v>
                </c:pt>
                <c:pt idx="10">
                  <c:v>0.96</c:v>
                </c:pt>
                <c:pt idx="11">
                  <c:v>0.98</c:v>
                </c:pt>
                <c:pt idx="12">
                  <c:v>0.88</c:v>
                </c:pt>
                <c:pt idx="13">
                  <c:v>0.98</c:v>
                </c:pt>
                <c:pt idx="14">
                  <c:v>0.79</c:v>
                </c:pt>
                <c:pt idx="15">
                  <c:v>0.77</c:v>
                </c:pt>
                <c:pt idx="16">
                  <c:v>0.9</c:v>
                </c:pt>
                <c:pt idx="17">
                  <c:v>0.81</c:v>
                </c:pt>
                <c:pt idx="18">
                  <c:v>0.95</c:v>
                </c:pt>
                <c:pt idx="19">
                  <c:v>0.74</c:v>
                </c:pt>
                <c:pt idx="20">
                  <c:v>0.99</c:v>
                </c:pt>
                <c:pt idx="21">
                  <c:v>0.76</c:v>
                </c:pt>
                <c:pt idx="22">
                  <c:v>0.95</c:v>
                </c:pt>
                <c:pt idx="23">
                  <c:v>0.75</c:v>
                </c:pt>
                <c:pt idx="24">
                  <c:v>0.94</c:v>
                </c:pt>
                <c:pt idx="25">
                  <c:v>0.68</c:v>
                </c:pt>
                <c:pt idx="26">
                  <c:v>0.88</c:v>
                </c:pt>
                <c:pt idx="27">
                  <c:v>0.76</c:v>
                </c:pt>
                <c:pt idx="28">
                  <c:v>0.67</c:v>
                </c:pt>
                <c:pt idx="29">
                  <c:v>0.73</c:v>
                </c:pt>
                <c:pt idx="30">
                  <c:v>0.67</c:v>
                </c:pt>
                <c:pt idx="31">
                  <c:v>0.79</c:v>
                </c:pt>
                <c:pt idx="32">
                  <c:v>0.54</c:v>
                </c:pt>
                <c:pt idx="33">
                  <c:v>0.53</c:v>
                </c:pt>
                <c:pt idx="34">
                  <c:v>0.87</c:v>
                </c:pt>
                <c:pt idx="35">
                  <c:v>0.92</c:v>
                </c:pt>
                <c:pt idx="36">
                  <c:v>0.82</c:v>
                </c:pt>
                <c:pt idx="37">
                  <c:v>0.71</c:v>
                </c:pt>
                <c:pt idx="38">
                  <c:v>0.8</c:v>
                </c:pt>
                <c:pt idx="39">
                  <c:v>0.69</c:v>
                </c:pt>
                <c:pt idx="40">
                  <c:v>0.99</c:v>
                </c:pt>
                <c:pt idx="41">
                  <c:v>0.84</c:v>
                </c:pt>
                <c:pt idx="42">
                  <c:v>0.91</c:v>
                </c:pt>
                <c:pt idx="43">
                  <c:v>0.8</c:v>
                </c:pt>
                <c:pt idx="44">
                  <c:v>0.95</c:v>
                </c:pt>
                <c:pt idx="45">
                  <c:v>0.83</c:v>
                </c:pt>
                <c:pt idx="46">
                  <c:v>0.83</c:v>
                </c:pt>
                <c:pt idx="47">
                  <c:v>0.59</c:v>
                </c:pt>
                <c:pt idx="48">
                  <c:v>0.84</c:v>
                </c:pt>
                <c:pt idx="49">
                  <c:v>0.32</c:v>
                </c:pt>
                <c:pt idx="50">
                  <c:v>0.77</c:v>
                </c:pt>
                <c:pt idx="51">
                  <c:v>0.54</c:v>
                </c:pt>
                <c:pt idx="52">
                  <c:v>0.9</c:v>
                </c:pt>
                <c:pt idx="53">
                  <c:v>0.83</c:v>
                </c:pt>
                <c:pt idx="54">
                  <c:v>0.9</c:v>
                </c:pt>
                <c:pt idx="55">
                  <c:v>0.95</c:v>
                </c:pt>
                <c:pt idx="56">
                  <c:v>0.95</c:v>
                </c:pt>
                <c:pt idx="57">
                  <c:v>0.68</c:v>
                </c:pt>
                <c:pt idx="58">
                  <c:v>0.69</c:v>
                </c:pt>
                <c:pt idx="59">
                  <c:v>0.94</c:v>
                </c:pt>
                <c:pt idx="60">
                  <c:v>0.85</c:v>
                </c:pt>
                <c:pt idx="61">
                  <c:v>0.89</c:v>
                </c:pt>
                <c:pt idx="62">
                  <c:v>0.84</c:v>
                </c:pt>
                <c:pt idx="63">
                  <c:v>0.7</c:v>
                </c:pt>
                <c:pt idx="64">
                  <c:v>0.84</c:v>
                </c:pt>
                <c:pt idx="65">
                  <c:v>0.54</c:v>
                </c:pt>
                <c:pt idx="66">
                  <c:v>0.8</c:v>
                </c:pt>
                <c:pt idx="67">
                  <c:v>0.47</c:v>
                </c:pt>
                <c:pt idx="68">
                  <c:v>0.65</c:v>
                </c:pt>
                <c:pt idx="69">
                  <c:v>0.31</c:v>
                </c:pt>
                <c:pt idx="70">
                  <c:v>0.52</c:v>
                </c:pt>
                <c:pt idx="71">
                  <c:v>0.6</c:v>
                </c:pt>
                <c:pt idx="72">
                  <c:v>0.44</c:v>
                </c:pt>
                <c:pt idx="73">
                  <c:v>0.7</c:v>
                </c:pt>
                <c:pt idx="74">
                  <c:v>0.54</c:v>
                </c:pt>
                <c:pt idx="75">
                  <c:v>0.77</c:v>
                </c:pt>
                <c:pt idx="76">
                  <c:v>0.31</c:v>
                </c:pt>
                <c:pt idx="77">
                  <c:v>0.83</c:v>
                </c:pt>
                <c:pt idx="78">
                  <c:v>0.33</c:v>
                </c:pt>
                <c:pt idx="79">
                  <c:v>0.97</c:v>
                </c:pt>
                <c:pt idx="80">
                  <c:v>0.81</c:v>
                </c:pt>
                <c:pt idx="81">
                  <c:v>0.4</c:v>
                </c:pt>
                <c:pt idx="82">
                  <c:v>0.78</c:v>
                </c:pt>
                <c:pt idx="83">
                  <c:v>0.43</c:v>
                </c:pt>
                <c:pt idx="84">
                  <c:v>0.23</c:v>
                </c:pt>
                <c:pt idx="85">
                  <c:v>0.77</c:v>
                </c:pt>
                <c:pt idx="86">
                  <c:v>0.31</c:v>
                </c:pt>
                <c:pt idx="87">
                  <c:v>0.54</c:v>
                </c:pt>
                <c:pt idx="88">
                  <c:v>0.77</c:v>
                </c:pt>
                <c:pt idx="89">
                  <c:v>0.17</c:v>
                </c:pt>
                <c:pt idx="90">
                  <c:v>0.34</c:v>
                </c:pt>
                <c:pt idx="91">
                  <c:v>0.6</c:v>
                </c:pt>
                <c:pt idx="92">
                  <c:v>0.24</c:v>
                </c:pt>
                <c:pt idx="93">
                  <c:v>0.73</c:v>
                </c:pt>
                <c:pt idx="94">
                  <c:v>0.67</c:v>
                </c:pt>
                <c:pt idx="95">
                  <c:v>0.56999999999999995</c:v>
                </c:pt>
                <c:pt idx="96">
                  <c:v>0.59</c:v>
                </c:pt>
                <c:pt idx="97">
                  <c:v>0.84</c:v>
                </c:pt>
                <c:pt idx="98">
                  <c:v>0.14000000000000001</c:v>
                </c:pt>
                <c:pt idx="99">
                  <c:v>0.78</c:v>
                </c:pt>
                <c:pt idx="100">
                  <c:v>0.64</c:v>
                </c:pt>
                <c:pt idx="101">
                  <c:v>0.88</c:v>
                </c:pt>
                <c:pt idx="102">
                  <c:v>0.61</c:v>
                </c:pt>
                <c:pt idx="103">
                  <c:v>0.28000000000000003</c:v>
                </c:pt>
                <c:pt idx="104">
                  <c:v>0.65</c:v>
                </c:pt>
                <c:pt idx="105">
                  <c:v>0.4</c:v>
                </c:pt>
                <c:pt idx="106">
                  <c:v>0.48</c:v>
                </c:pt>
                <c:pt idx="107">
                  <c:v>0.67</c:v>
                </c:pt>
                <c:pt idx="108">
                  <c:v>0.62</c:v>
                </c:pt>
                <c:pt idx="109">
                  <c:v>0.61</c:v>
                </c:pt>
                <c:pt idx="110">
                  <c:v>0.19</c:v>
                </c:pt>
                <c:pt idx="111">
                  <c:v>0.28999999999999998</c:v>
                </c:pt>
                <c:pt idx="112">
                  <c:v>0.26</c:v>
                </c:pt>
                <c:pt idx="113">
                  <c:v>0.61</c:v>
                </c:pt>
                <c:pt idx="114">
                  <c:v>0.48</c:v>
                </c:pt>
                <c:pt idx="115">
                  <c:v>0.15</c:v>
                </c:pt>
                <c:pt idx="116">
                  <c:v>0.14000000000000001</c:v>
                </c:pt>
                <c:pt idx="117">
                  <c:v>0.05</c:v>
                </c:pt>
                <c:pt idx="118">
                  <c:v>0.05</c:v>
                </c:pt>
                <c:pt idx="119">
                  <c:v>0.04</c:v>
                </c:pt>
                <c:pt idx="120">
                  <c:v>0.04</c:v>
                </c:pt>
                <c:pt idx="121">
                  <c:v>0.05</c:v>
                </c:pt>
                <c:pt idx="122">
                  <c:v>0.03</c:v>
                </c:pt>
                <c:pt idx="123">
                  <c:v>0.04</c:v>
                </c:pt>
                <c:pt idx="124">
                  <c:v>0.36</c:v>
                </c:pt>
                <c:pt idx="125">
                  <c:v>0.05</c:v>
                </c:pt>
                <c:pt idx="126">
                  <c:v>0.04</c:v>
                </c:pt>
                <c:pt idx="127">
                  <c:v>0.03</c:v>
                </c:pt>
                <c:pt idx="128">
                  <c:v>0.04</c:v>
                </c:pt>
                <c:pt idx="129">
                  <c:v>0.02</c:v>
                </c:pt>
                <c:pt idx="130">
                  <c:v>0.01</c:v>
                </c:pt>
                <c:pt idx="131">
                  <c:v>0.01</c:v>
                </c:pt>
                <c:pt idx="132">
                  <c:v>0.01</c:v>
                </c:pt>
                <c:pt idx="133">
                  <c:v>0.01</c:v>
                </c:pt>
                <c:pt idx="134">
                  <c:v>0.01</c:v>
                </c:pt>
                <c:pt idx="135">
                  <c:v>0.02</c:v>
                </c:pt>
                <c:pt idx="136">
                  <c:v>0.01</c:v>
                </c:pt>
                <c:pt idx="137">
                  <c:v>0.01</c:v>
                </c:pt>
                <c:pt idx="13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0</c:f>
              <c:strCache>
                <c:ptCount val="139"/>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pt idx="22">
                  <c:v>Gillette</c:v>
                </c:pt>
                <c:pt idx="23">
                  <c:v>Harry's</c:v>
                </c:pt>
                <c:pt idx="24">
                  <c:v>Schick</c:v>
                </c:pt>
                <c:pt idx="25">
                  <c:v>Gillette</c:v>
                </c:pt>
                <c:pt idx="26">
                  <c:v>Harry's</c:v>
                </c:pt>
                <c:pt idx="27">
                  <c:v>Gillette</c:v>
                </c:pt>
                <c:pt idx="28">
                  <c:v>Gillette</c:v>
                </c:pt>
                <c:pt idx="29">
                  <c:v>Gillette</c:v>
                </c:pt>
                <c:pt idx="30">
                  <c:v>Gillette</c:v>
                </c:pt>
                <c:pt idx="31">
                  <c:v>Schick</c:v>
                </c:pt>
                <c:pt idx="32">
                  <c:v>Gillette</c:v>
                </c:pt>
                <c:pt idx="33">
                  <c:v>Gillette</c:v>
                </c:pt>
                <c:pt idx="34">
                  <c:v>Schick</c:v>
                </c:pt>
                <c:pt idx="35">
                  <c:v>Bic</c:v>
                </c:pt>
                <c:pt idx="36">
                  <c:v>Gillette</c:v>
                </c:pt>
                <c:pt idx="37">
                  <c:v>Gillette</c:v>
                </c:pt>
                <c:pt idx="38">
                  <c:v>Bic</c:v>
                </c:pt>
                <c:pt idx="39">
                  <c:v>Gillette</c:v>
                </c:pt>
                <c:pt idx="40">
                  <c:v>Equate</c:v>
                </c:pt>
                <c:pt idx="41">
                  <c:v>Gillette</c:v>
                </c:pt>
                <c:pt idx="42">
                  <c:v>Gillette</c:v>
                </c:pt>
                <c:pt idx="43">
                  <c:v>Harry's</c:v>
                </c:pt>
                <c:pt idx="44">
                  <c:v>Schick</c:v>
                </c:pt>
                <c:pt idx="45">
                  <c:v>Schick</c:v>
                </c:pt>
                <c:pt idx="46">
                  <c:v>Equate</c:v>
                </c:pt>
                <c:pt idx="47">
                  <c:v>Bic</c:v>
                </c:pt>
                <c:pt idx="48">
                  <c:v>Dollar Shav</c:v>
                </c:pt>
                <c:pt idx="49">
                  <c:v>Gillette</c:v>
                </c:pt>
                <c:pt idx="50">
                  <c:v>Bic</c:v>
                </c:pt>
                <c:pt idx="51">
                  <c:v>Gillette</c:v>
                </c:pt>
                <c:pt idx="52">
                  <c:v>Equate</c:v>
                </c:pt>
                <c:pt idx="53">
                  <c:v>Dollar Shav</c:v>
                </c:pt>
                <c:pt idx="54">
                  <c:v>Bic</c:v>
                </c:pt>
                <c:pt idx="55">
                  <c:v>Bic</c:v>
                </c:pt>
                <c:pt idx="56">
                  <c:v>Equate</c:v>
                </c:pt>
                <c:pt idx="57">
                  <c:v>Schick</c:v>
                </c:pt>
                <c:pt idx="58">
                  <c:v>Gillette</c:v>
                </c:pt>
                <c:pt idx="59">
                  <c:v>Equate</c:v>
                </c:pt>
                <c:pt idx="60">
                  <c:v>Bic</c:v>
                </c:pt>
                <c:pt idx="61">
                  <c:v>Bic</c:v>
                </c:pt>
                <c:pt idx="62">
                  <c:v>Bic</c:v>
                </c:pt>
                <c:pt idx="63">
                  <c:v>Gillette</c:v>
                </c:pt>
                <c:pt idx="64">
                  <c:v>Comfort 3</c:v>
                </c:pt>
                <c:pt idx="65">
                  <c:v>Van Der Hag</c:v>
                </c:pt>
                <c:pt idx="66">
                  <c:v>Van Der Hag</c:v>
                </c:pt>
                <c:pt idx="67">
                  <c:v>Dollar Shav</c:v>
                </c:pt>
                <c:pt idx="68">
                  <c:v>Comfort 3</c:v>
                </c:pt>
                <c:pt idx="69">
                  <c:v>Schick</c:v>
                </c:pt>
                <c:pt idx="70">
                  <c:v>Gillette</c:v>
                </c:pt>
                <c:pt idx="71">
                  <c:v>Gillette</c:v>
                </c:pt>
                <c:pt idx="72">
                  <c:v>Gillette</c:v>
                </c:pt>
                <c:pt idx="73">
                  <c:v>Equate</c:v>
                </c:pt>
                <c:pt idx="74">
                  <c:v>Equate</c:v>
                </c:pt>
                <c:pt idx="75">
                  <c:v>Bic</c:v>
                </c:pt>
                <c:pt idx="76">
                  <c:v>Gillette</c:v>
                </c:pt>
                <c:pt idx="77">
                  <c:v>Bic</c:v>
                </c:pt>
                <c:pt idx="78">
                  <c:v>Gillette</c:v>
                </c:pt>
                <c:pt idx="79">
                  <c:v>Equate</c:v>
                </c:pt>
                <c:pt idx="80">
                  <c:v>Bic</c:v>
                </c:pt>
                <c:pt idx="81">
                  <c:v>Gillette</c:v>
                </c:pt>
                <c:pt idx="82">
                  <c:v>Gillette</c:v>
                </c:pt>
                <c:pt idx="83">
                  <c:v>Gillette</c:v>
                </c:pt>
                <c:pt idx="84">
                  <c:v>Gillette</c:v>
                </c:pt>
                <c:pt idx="85">
                  <c:v>Bic</c:v>
                </c:pt>
                <c:pt idx="86">
                  <c:v>Harry's</c:v>
                </c:pt>
                <c:pt idx="87">
                  <c:v>Gillette</c:v>
                </c:pt>
                <c:pt idx="88">
                  <c:v>Gillette</c:v>
                </c:pt>
                <c:pt idx="89">
                  <c:v>Gillette</c:v>
                </c:pt>
                <c:pt idx="90">
                  <c:v>Gillette</c:v>
                </c:pt>
                <c:pt idx="91">
                  <c:v>Gillette</c:v>
                </c:pt>
                <c:pt idx="92">
                  <c:v>Gillette</c:v>
                </c:pt>
                <c:pt idx="93">
                  <c:v>Bic</c:v>
                </c:pt>
                <c:pt idx="94">
                  <c:v>Equate</c:v>
                </c:pt>
                <c:pt idx="95">
                  <c:v>Harry's</c:v>
                </c:pt>
                <c:pt idx="96">
                  <c:v>Gillette</c:v>
                </c:pt>
                <c:pt idx="97">
                  <c:v>Schick</c:v>
                </c:pt>
                <c:pt idx="98">
                  <c:v>Harry's</c:v>
                </c:pt>
                <c:pt idx="99">
                  <c:v>Bic</c:v>
                </c:pt>
                <c:pt idx="100">
                  <c:v>Schick</c:v>
                </c:pt>
                <c:pt idx="101">
                  <c:v>Schick</c:v>
                </c:pt>
                <c:pt idx="102">
                  <c:v>Gillette</c:v>
                </c:pt>
                <c:pt idx="103">
                  <c:v>Gillette</c:v>
                </c:pt>
                <c:pt idx="104">
                  <c:v>Gillette</c:v>
                </c:pt>
                <c:pt idx="105">
                  <c:v>Gillette</c:v>
                </c:pt>
                <c:pt idx="106">
                  <c:v>Bic</c:v>
                </c:pt>
                <c:pt idx="107">
                  <c:v>Bic</c:v>
                </c:pt>
                <c:pt idx="108">
                  <c:v>Dollar Shav</c:v>
                </c:pt>
                <c:pt idx="109">
                  <c:v>Bic</c:v>
                </c:pt>
                <c:pt idx="110">
                  <c:v>Gillette</c:v>
                </c:pt>
                <c:pt idx="111">
                  <c:v>Gillette</c:v>
                </c:pt>
                <c:pt idx="112">
                  <c:v>Gillette</c:v>
                </c:pt>
                <c:pt idx="113">
                  <c:v>Harry's</c:v>
                </c:pt>
                <c:pt idx="114">
                  <c:v>Harry's</c:v>
                </c:pt>
                <c:pt idx="115">
                  <c:v>Gillette</c:v>
                </c:pt>
                <c:pt idx="116">
                  <c:v>Gillette</c:v>
                </c:pt>
                <c:pt idx="117">
                  <c:v>Gillette</c:v>
                </c:pt>
                <c:pt idx="118">
                  <c:v>Schick</c:v>
                </c:pt>
                <c:pt idx="119">
                  <c:v>Schick</c:v>
                </c:pt>
                <c:pt idx="120">
                  <c:v>Schick</c:v>
                </c:pt>
                <c:pt idx="121">
                  <c:v>Gillette</c:v>
                </c:pt>
                <c:pt idx="122">
                  <c:v>Bic</c:v>
                </c:pt>
                <c:pt idx="123">
                  <c:v>Schick</c:v>
                </c:pt>
                <c:pt idx="124">
                  <c:v>Gillette</c:v>
                </c:pt>
                <c:pt idx="125">
                  <c:v>Cremo</c:v>
                </c:pt>
                <c:pt idx="126">
                  <c:v>Bic</c:v>
                </c:pt>
                <c:pt idx="127">
                  <c:v>Bic</c:v>
                </c:pt>
                <c:pt idx="128">
                  <c:v>Cremo</c:v>
                </c:pt>
                <c:pt idx="129">
                  <c:v>Bic</c:v>
                </c:pt>
                <c:pt idx="130">
                  <c:v>Harry's</c:v>
                </c:pt>
                <c:pt idx="131">
                  <c:v>Comfort 3</c:v>
                </c:pt>
                <c:pt idx="132">
                  <c:v>Schick</c:v>
                </c:pt>
                <c:pt idx="133">
                  <c:v>Bic</c:v>
                </c:pt>
                <c:pt idx="134">
                  <c:v>Harry's</c:v>
                </c:pt>
                <c:pt idx="135">
                  <c:v>Bic</c:v>
                </c:pt>
                <c:pt idx="136">
                  <c:v>Schick</c:v>
                </c:pt>
                <c:pt idx="137">
                  <c:v>Dollar Shav</c:v>
                </c:pt>
                <c:pt idx="138">
                  <c:v>Dollar Shav</c:v>
                </c:pt>
              </c:strCache>
            </c:strRef>
          </c:cat>
          <c:val>
            <c:numRef>
              <c:f>Sheet1!$C$2:$C$140</c:f>
              <c:numCache>
                <c:formatCode>General</c:formatCode>
                <c:ptCount val="139"/>
                <c:pt idx="0">
                  <c:v>5.3648963777222558E-2</c:v>
                </c:pt>
                <c:pt idx="1">
                  <c:v>9.4734225668362509E-2</c:v>
                </c:pt>
                <c:pt idx="2">
                  <c:v>0.12766184673401992</c:v>
                </c:pt>
                <c:pt idx="3">
                  <c:v>0.1588765927617051</c:v>
                </c:pt>
                <c:pt idx="4">
                  <c:v>0.18911038778213141</c:v>
                </c:pt>
                <c:pt idx="5">
                  <c:v>0.21708926680348797</c:v>
                </c:pt>
                <c:pt idx="6">
                  <c:v>0.24176312728542615</c:v>
                </c:pt>
                <c:pt idx="7">
                  <c:v>0.26513480359713648</c:v>
                </c:pt>
                <c:pt idx="8">
                  <c:v>0.288306211017896</c:v>
                </c:pt>
                <c:pt idx="9">
                  <c:v>0.31118643724610373</c:v>
                </c:pt>
                <c:pt idx="10">
                  <c:v>0.33212896595097202</c:v>
                </c:pt>
                <c:pt idx="11">
                  <c:v>0.35170856652217475</c:v>
                </c:pt>
                <c:pt idx="12">
                  <c:v>0.37067243625709428</c:v>
                </c:pt>
                <c:pt idx="13">
                  <c:v>0.38832379418432406</c:v>
                </c:pt>
                <c:pt idx="14">
                  <c:v>0.40569627680814674</c:v>
                </c:pt>
                <c:pt idx="15">
                  <c:v>0.42220179063196583</c:v>
                </c:pt>
                <c:pt idx="16">
                  <c:v>0.436844024106044</c:v>
                </c:pt>
                <c:pt idx="17">
                  <c:v>0.45075430445747228</c:v>
                </c:pt>
                <c:pt idx="18">
                  <c:v>0.46461809589435388</c:v>
                </c:pt>
                <c:pt idx="19">
                  <c:v>0.47776177462674607</c:v>
                </c:pt>
                <c:pt idx="20">
                  <c:v>0.49083947284712831</c:v>
                </c:pt>
                <c:pt idx="21">
                  <c:v>0.50385130692324664</c:v>
                </c:pt>
                <c:pt idx="22">
                  <c:v>0.51665935198409618</c:v>
                </c:pt>
                <c:pt idx="23">
                  <c:v>0.52909458387854036</c:v>
                </c:pt>
                <c:pt idx="24">
                  <c:v>0.54105043884313464</c:v>
                </c:pt>
                <c:pt idx="25">
                  <c:v>0.55284832459246702</c:v>
                </c:pt>
                <c:pt idx="26">
                  <c:v>0.56450179796895228</c:v>
                </c:pt>
                <c:pt idx="27">
                  <c:v>0.57587764699530042</c:v>
                </c:pt>
                <c:pt idx="28">
                  <c:v>0.58692272070350349</c:v>
                </c:pt>
                <c:pt idx="29">
                  <c:v>0.59772700045319416</c:v>
                </c:pt>
                <c:pt idx="30">
                  <c:v>0.60827596936805273</c:v>
                </c:pt>
                <c:pt idx="31">
                  <c:v>0.61875610676112314</c:v>
                </c:pt>
                <c:pt idx="32">
                  <c:v>0.62916188516446803</c:v>
                </c:pt>
                <c:pt idx="33">
                  <c:v>0.63956344523701869</c:v>
                </c:pt>
                <c:pt idx="34">
                  <c:v>0.64955070704169737</c:v>
                </c:pt>
                <c:pt idx="35">
                  <c:v>0.6593558824157455</c:v>
                </c:pt>
                <c:pt idx="36">
                  <c:v>0.66899372097097476</c:v>
                </c:pt>
                <c:pt idx="37">
                  <c:v>0.67842166120426761</c:v>
                </c:pt>
                <c:pt idx="38">
                  <c:v>0.68784564493419487</c:v>
                </c:pt>
                <c:pt idx="39">
                  <c:v>0.69694932644312146</c:v>
                </c:pt>
                <c:pt idx="40">
                  <c:v>0.7060156539055662</c:v>
                </c:pt>
                <c:pt idx="41">
                  <c:v>0.71483100523171916</c:v>
                </c:pt>
                <c:pt idx="42">
                  <c:v>0.72355320417715974</c:v>
                </c:pt>
                <c:pt idx="43">
                  <c:v>0.73194378413829642</c:v>
                </c:pt>
                <c:pt idx="44">
                  <c:v>0.74032584016203495</c:v>
                </c:pt>
                <c:pt idx="45">
                  <c:v>0.74862021308912541</c:v>
                </c:pt>
                <c:pt idx="46">
                  <c:v>0.75688165394408391</c:v>
                </c:pt>
                <c:pt idx="47">
                  <c:v>0.764838764051187</c:v>
                </c:pt>
                <c:pt idx="48">
                  <c:v>0.77272273702989813</c:v>
                </c:pt>
                <c:pt idx="49">
                  <c:v>0.7804800146250982</c:v>
                </c:pt>
                <c:pt idx="50">
                  <c:v>0.78820465106753135</c:v>
                </c:pt>
                <c:pt idx="51">
                  <c:v>0.7957817622999106</c:v>
                </c:pt>
                <c:pt idx="52">
                  <c:v>0.80325478258344873</c:v>
                </c:pt>
                <c:pt idx="53">
                  <c:v>0.81033721452737251</c:v>
                </c:pt>
                <c:pt idx="54">
                  <c:v>0.81736038619662066</c:v>
                </c:pt>
                <c:pt idx="55">
                  <c:v>0.82425113137086481</c:v>
                </c:pt>
                <c:pt idx="56">
                  <c:v>0.83113547631907625</c:v>
                </c:pt>
                <c:pt idx="57">
                  <c:v>0.83780852653239868</c:v>
                </c:pt>
                <c:pt idx="58">
                  <c:v>0.84431933101579193</c:v>
                </c:pt>
                <c:pt idx="59">
                  <c:v>0.85082798269588322</c:v>
                </c:pt>
                <c:pt idx="60">
                  <c:v>0.85724098008872207</c:v>
                </c:pt>
                <c:pt idx="61">
                  <c:v>0.86349856835671213</c:v>
                </c:pt>
                <c:pt idx="62">
                  <c:v>0.86937598319835918</c:v>
                </c:pt>
                <c:pt idx="63">
                  <c:v>0.87524798693981498</c:v>
                </c:pt>
                <c:pt idx="64">
                  <c:v>0.88109657167237831</c:v>
                </c:pt>
                <c:pt idx="65">
                  <c:v>0.88631691603595819</c:v>
                </c:pt>
                <c:pt idx="66">
                  <c:v>0.89144995549806461</c:v>
                </c:pt>
                <c:pt idx="67">
                  <c:v>0.89642991319024312</c:v>
                </c:pt>
                <c:pt idx="68">
                  <c:v>0.90121914414664694</c:v>
                </c:pt>
                <c:pt idx="69">
                  <c:v>0.90597678125999836</c:v>
                </c:pt>
                <c:pt idx="70">
                  <c:v>0.91070096264636069</c:v>
                </c:pt>
                <c:pt idx="71">
                  <c:v>0.91535639978674432</c:v>
                </c:pt>
                <c:pt idx="72">
                  <c:v>0.91989174541320518</c:v>
                </c:pt>
                <c:pt idx="73">
                  <c:v>0.92435671764524274</c:v>
                </c:pt>
                <c:pt idx="74">
                  <c:v>0.92848000508294304</c:v>
                </c:pt>
                <c:pt idx="75">
                  <c:v>0.93225029096300294</c:v>
                </c:pt>
                <c:pt idx="76">
                  <c:v>0.93597824807543739</c:v>
                </c:pt>
                <c:pt idx="77">
                  <c:v>0.93967062574951732</c:v>
                </c:pt>
                <c:pt idx="78">
                  <c:v>0.94330682689419187</c:v>
                </c:pt>
                <c:pt idx="79">
                  <c:v>0.94688743334819148</c:v>
                </c:pt>
                <c:pt idx="80">
                  <c:v>0.9504220745425016</c:v>
                </c:pt>
                <c:pt idx="81">
                  <c:v>0.95333702839716283</c:v>
                </c:pt>
                <c:pt idx="82">
                  <c:v>0.95608132895224285</c:v>
                </c:pt>
                <c:pt idx="83">
                  <c:v>0.95877867512179193</c:v>
                </c:pt>
                <c:pt idx="84">
                  <c:v>0.96108799304213977</c:v>
                </c:pt>
                <c:pt idx="85">
                  <c:v>0.96331532988539581</c:v>
                </c:pt>
                <c:pt idx="86">
                  <c:v>0.9655338809638252</c:v>
                </c:pt>
                <c:pt idx="87">
                  <c:v>0.96772139094599596</c:v>
                </c:pt>
                <c:pt idx="88">
                  <c:v>0.96981315936510459</c:v>
                </c:pt>
                <c:pt idx="89">
                  <c:v>0.97166960310976513</c:v>
                </c:pt>
                <c:pt idx="90">
                  <c:v>0.97334154579306453</c:v>
                </c:pt>
                <c:pt idx="91">
                  <c:v>0.97499658606125028</c:v>
                </c:pt>
                <c:pt idx="92">
                  <c:v>0.97653127298808462</c:v>
                </c:pt>
                <c:pt idx="93">
                  <c:v>0.97802822767326247</c:v>
                </c:pt>
                <c:pt idx="94">
                  <c:v>0.97948046805202083</c:v>
                </c:pt>
                <c:pt idx="95">
                  <c:v>0.98086696065426138</c:v>
                </c:pt>
                <c:pt idx="96">
                  <c:v>0.98225275505002563</c:v>
                </c:pt>
                <c:pt idx="97">
                  <c:v>0.98348945327116422</c:v>
                </c:pt>
                <c:pt idx="98">
                  <c:v>0.98464163941673455</c:v>
                </c:pt>
                <c:pt idx="99">
                  <c:v>0.98571455003530883</c:v>
                </c:pt>
                <c:pt idx="100">
                  <c:v>0.98678449327635887</c:v>
                </c:pt>
                <c:pt idx="101">
                  <c:v>0.98784250882343883</c:v>
                </c:pt>
                <c:pt idx="102">
                  <c:v>0.98889895340594713</c:v>
                </c:pt>
                <c:pt idx="103">
                  <c:v>0.98993386995543631</c:v>
                </c:pt>
                <c:pt idx="104">
                  <c:v>0.99095418235279631</c:v>
                </c:pt>
                <c:pt idx="105">
                  <c:v>0.99195802871409033</c:v>
                </c:pt>
                <c:pt idx="106">
                  <c:v>0.99280314946977322</c:v>
                </c:pt>
                <c:pt idx="107">
                  <c:v>0.99363008776513584</c:v>
                </c:pt>
                <c:pt idx="108">
                  <c:v>0.99441795558976243</c:v>
                </c:pt>
                <c:pt idx="109">
                  <c:v>0.9950729314484007</c:v>
                </c:pt>
                <c:pt idx="110">
                  <c:v>0.99567929468112693</c:v>
                </c:pt>
                <c:pt idx="111">
                  <c:v>0.99625394770305475</c:v>
                </c:pt>
                <c:pt idx="112">
                  <c:v>0.99681868037463184</c:v>
                </c:pt>
                <c:pt idx="113">
                  <c:v>0.99734370255286964</c:v>
                </c:pt>
                <c:pt idx="114">
                  <c:v>0.99782121759878284</c:v>
                </c:pt>
                <c:pt idx="115">
                  <c:v>0.99825174916722859</c:v>
                </c:pt>
                <c:pt idx="116">
                  <c:v>0.99859413216804205</c:v>
                </c:pt>
                <c:pt idx="117">
                  <c:v>0.99880027763016832</c:v>
                </c:pt>
                <c:pt idx="118">
                  <c:v>0.99894562094498385</c:v>
                </c:pt>
                <c:pt idx="119">
                  <c:v>0.99907301453497133</c:v>
                </c:pt>
                <c:pt idx="120">
                  <c:v>0.9991958697828629</c:v>
                </c:pt>
                <c:pt idx="121">
                  <c:v>0.99930243354630754</c:v>
                </c:pt>
                <c:pt idx="122">
                  <c:v>0.99940847365489494</c:v>
                </c:pt>
                <c:pt idx="123">
                  <c:v>0.99951017906494199</c:v>
                </c:pt>
                <c:pt idx="124">
                  <c:v>0.99958325800946091</c:v>
                </c:pt>
                <c:pt idx="125">
                  <c:v>0.99965200225543949</c:v>
                </c:pt>
                <c:pt idx="126">
                  <c:v>0.99971911735297336</c:v>
                </c:pt>
                <c:pt idx="127">
                  <c:v>0.99976260979805931</c:v>
                </c:pt>
                <c:pt idx="128">
                  <c:v>0.99979757830574711</c:v>
                </c:pt>
                <c:pt idx="129">
                  <c:v>0.99983068492949811</c:v>
                </c:pt>
                <c:pt idx="130">
                  <c:v>0.99984590001229401</c:v>
                </c:pt>
                <c:pt idx="131">
                  <c:v>0.99986062053216929</c:v>
                </c:pt>
                <c:pt idx="132">
                  <c:v>0.99987359553585375</c:v>
                </c:pt>
                <c:pt idx="133">
                  <c:v>0.99990562575795383</c:v>
                </c:pt>
                <c:pt idx="134">
                  <c:v>0.9999146442582727</c:v>
                </c:pt>
                <c:pt idx="135">
                  <c:v>0.99992241180532149</c:v>
                </c:pt>
                <c:pt idx="136">
                  <c:v>0.99993553226868859</c:v>
                </c:pt>
                <c:pt idx="137">
                  <c:v>0.99995159101764342</c:v>
                </c:pt>
                <c:pt idx="138">
                  <c:v>0.9999626168615816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8</c:f>
              <c:strCache>
                <c:ptCount val="107"/>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Equate</c:v>
                </c:pt>
                <c:pt idx="104">
                  <c:v>Bic</c:v>
                </c:pt>
                <c:pt idx="105">
                  <c:v>Schick</c:v>
                </c:pt>
                <c:pt idx="106">
                  <c:v>Harry's</c:v>
                </c:pt>
              </c:strCache>
            </c:strRef>
          </c:cat>
          <c:val>
            <c:numRef>
              <c:f>Sheet1!$B$2:$B$108</c:f>
              <c:numCache>
                <c:formatCode>General</c:formatCode>
                <c:ptCount val="107"/>
                <c:pt idx="0">
                  <c:v>0.93</c:v>
                </c:pt>
                <c:pt idx="1">
                  <c:v>0.95</c:v>
                </c:pt>
                <c:pt idx="2">
                  <c:v>0.91</c:v>
                </c:pt>
                <c:pt idx="3">
                  <c:v>0.76</c:v>
                </c:pt>
                <c:pt idx="4">
                  <c:v>0.55000000000000004</c:v>
                </c:pt>
                <c:pt idx="5">
                  <c:v>0.79</c:v>
                </c:pt>
                <c:pt idx="6">
                  <c:v>0.73</c:v>
                </c:pt>
                <c:pt idx="7">
                  <c:v>0.66</c:v>
                </c:pt>
                <c:pt idx="8">
                  <c:v>0.9</c:v>
                </c:pt>
                <c:pt idx="9">
                  <c:v>0.8</c:v>
                </c:pt>
                <c:pt idx="10">
                  <c:v>0.56999999999999995</c:v>
                </c:pt>
                <c:pt idx="11">
                  <c:v>0.91</c:v>
                </c:pt>
                <c:pt idx="12">
                  <c:v>0.57999999999999996</c:v>
                </c:pt>
                <c:pt idx="13">
                  <c:v>0.87</c:v>
                </c:pt>
                <c:pt idx="14">
                  <c:v>0.28000000000000003</c:v>
                </c:pt>
                <c:pt idx="15">
                  <c:v>0.56000000000000005</c:v>
                </c:pt>
                <c:pt idx="16">
                  <c:v>0.81</c:v>
                </c:pt>
                <c:pt idx="17">
                  <c:v>0.71</c:v>
                </c:pt>
                <c:pt idx="18">
                  <c:v>0.48</c:v>
                </c:pt>
                <c:pt idx="19">
                  <c:v>0.69</c:v>
                </c:pt>
                <c:pt idx="20">
                  <c:v>0.56000000000000005</c:v>
                </c:pt>
                <c:pt idx="21">
                  <c:v>0.94</c:v>
                </c:pt>
                <c:pt idx="22">
                  <c:v>0.78</c:v>
                </c:pt>
                <c:pt idx="23">
                  <c:v>0.77</c:v>
                </c:pt>
                <c:pt idx="24">
                  <c:v>0.51</c:v>
                </c:pt>
                <c:pt idx="25">
                  <c:v>0.65</c:v>
                </c:pt>
                <c:pt idx="26">
                  <c:v>0.45</c:v>
                </c:pt>
                <c:pt idx="27">
                  <c:v>0.65</c:v>
                </c:pt>
                <c:pt idx="28">
                  <c:v>0.73</c:v>
                </c:pt>
                <c:pt idx="29">
                  <c:v>0.42</c:v>
                </c:pt>
                <c:pt idx="30">
                  <c:v>0.68</c:v>
                </c:pt>
                <c:pt idx="31">
                  <c:v>0.85</c:v>
                </c:pt>
                <c:pt idx="32">
                  <c:v>0.95</c:v>
                </c:pt>
                <c:pt idx="33">
                  <c:v>0.61</c:v>
                </c:pt>
                <c:pt idx="34">
                  <c:v>0.61</c:v>
                </c:pt>
                <c:pt idx="35">
                  <c:v>0.81</c:v>
                </c:pt>
                <c:pt idx="36">
                  <c:v>0.51</c:v>
                </c:pt>
                <c:pt idx="37">
                  <c:v>0.37</c:v>
                </c:pt>
                <c:pt idx="38">
                  <c:v>0.49</c:v>
                </c:pt>
                <c:pt idx="39">
                  <c:v>0.31</c:v>
                </c:pt>
                <c:pt idx="40">
                  <c:v>0.42</c:v>
                </c:pt>
                <c:pt idx="41">
                  <c:v>0.56999999999999995</c:v>
                </c:pt>
                <c:pt idx="42">
                  <c:v>0.7</c:v>
                </c:pt>
                <c:pt idx="43">
                  <c:v>0.31</c:v>
                </c:pt>
                <c:pt idx="44">
                  <c:v>0.69</c:v>
                </c:pt>
                <c:pt idx="45">
                  <c:v>0.23</c:v>
                </c:pt>
                <c:pt idx="46">
                  <c:v>0.56999999999999995</c:v>
                </c:pt>
                <c:pt idx="47">
                  <c:v>0.62</c:v>
                </c:pt>
                <c:pt idx="48">
                  <c:v>0.82</c:v>
                </c:pt>
                <c:pt idx="49">
                  <c:v>0.69</c:v>
                </c:pt>
                <c:pt idx="50">
                  <c:v>0.45</c:v>
                </c:pt>
                <c:pt idx="51">
                  <c:v>0.65</c:v>
                </c:pt>
                <c:pt idx="52">
                  <c:v>0.74</c:v>
                </c:pt>
                <c:pt idx="53">
                  <c:v>0.26</c:v>
                </c:pt>
                <c:pt idx="54">
                  <c:v>0.42</c:v>
                </c:pt>
                <c:pt idx="55">
                  <c:v>0.53</c:v>
                </c:pt>
                <c:pt idx="56">
                  <c:v>0.21</c:v>
                </c:pt>
                <c:pt idx="57">
                  <c:v>0.14000000000000001</c:v>
                </c:pt>
                <c:pt idx="58">
                  <c:v>0.39</c:v>
                </c:pt>
                <c:pt idx="59">
                  <c:v>0.95</c:v>
                </c:pt>
                <c:pt idx="60">
                  <c:v>0.23</c:v>
                </c:pt>
                <c:pt idx="61">
                  <c:v>0.27</c:v>
                </c:pt>
                <c:pt idx="62">
                  <c:v>0.57999999999999996</c:v>
                </c:pt>
                <c:pt idx="63">
                  <c:v>0.3</c:v>
                </c:pt>
                <c:pt idx="64">
                  <c:v>0.4</c:v>
                </c:pt>
                <c:pt idx="65">
                  <c:v>0.32</c:v>
                </c:pt>
                <c:pt idx="66">
                  <c:v>0.28999999999999998</c:v>
                </c:pt>
                <c:pt idx="67">
                  <c:v>0.48</c:v>
                </c:pt>
                <c:pt idx="68">
                  <c:v>0.21</c:v>
                </c:pt>
                <c:pt idx="69">
                  <c:v>0.16</c:v>
                </c:pt>
                <c:pt idx="70">
                  <c:v>0.44</c:v>
                </c:pt>
                <c:pt idx="71">
                  <c:v>0.16</c:v>
                </c:pt>
                <c:pt idx="72">
                  <c:v>0.43</c:v>
                </c:pt>
                <c:pt idx="73">
                  <c:v>0.08</c:v>
                </c:pt>
                <c:pt idx="74">
                  <c:v>0.41</c:v>
                </c:pt>
                <c:pt idx="75">
                  <c:v>0.18</c:v>
                </c:pt>
                <c:pt idx="76">
                  <c:v>0.41</c:v>
                </c:pt>
                <c:pt idx="77">
                  <c:v>0.4</c:v>
                </c:pt>
                <c:pt idx="78">
                  <c:v>0.21</c:v>
                </c:pt>
                <c:pt idx="79">
                  <c:v>0.06</c:v>
                </c:pt>
                <c:pt idx="80">
                  <c:v>0.71</c:v>
                </c:pt>
                <c:pt idx="81">
                  <c:v>0.38</c:v>
                </c:pt>
                <c:pt idx="82">
                  <c:v>0.61</c:v>
                </c:pt>
                <c:pt idx="83">
                  <c:v>0.27</c:v>
                </c:pt>
                <c:pt idx="84">
                  <c:v>0.53</c:v>
                </c:pt>
                <c:pt idx="85">
                  <c:v>0.24</c:v>
                </c:pt>
                <c:pt idx="86">
                  <c:v>0.23</c:v>
                </c:pt>
                <c:pt idx="87">
                  <c:v>0.34</c:v>
                </c:pt>
                <c:pt idx="88">
                  <c:v>0.11</c:v>
                </c:pt>
                <c:pt idx="89">
                  <c:v>0.37</c:v>
                </c:pt>
                <c:pt idx="90">
                  <c:v>0.11</c:v>
                </c:pt>
                <c:pt idx="91">
                  <c:v>0.36</c:v>
                </c:pt>
                <c:pt idx="92">
                  <c:v>0.33</c:v>
                </c:pt>
                <c:pt idx="93">
                  <c:v>0.24</c:v>
                </c:pt>
                <c:pt idx="94">
                  <c:v>0.34</c:v>
                </c:pt>
                <c:pt idx="95">
                  <c:v>0.22</c:v>
                </c:pt>
                <c:pt idx="96">
                  <c:v>0.06</c:v>
                </c:pt>
                <c:pt idx="97">
                  <c:v>0.01</c:v>
                </c:pt>
                <c:pt idx="98">
                  <c:v>0.13</c:v>
                </c:pt>
                <c:pt idx="99">
                  <c:v>0.05</c:v>
                </c:pt>
                <c:pt idx="100">
                  <c:v>0.05</c:v>
                </c:pt>
                <c:pt idx="101">
                  <c:v>0.01</c:v>
                </c:pt>
                <c:pt idx="102">
                  <c:v>0.16</c:v>
                </c:pt>
                <c:pt idx="103">
                  <c:v>0.06</c:v>
                </c:pt>
                <c:pt idx="104">
                  <c:v>0.01</c:v>
                </c:pt>
                <c:pt idx="105">
                  <c:v>0.01</c:v>
                </c:pt>
                <c:pt idx="10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8</c:f>
              <c:strCache>
                <c:ptCount val="107"/>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pt idx="19">
                  <c:v>Harry's</c:v>
                </c:pt>
                <c:pt idx="20">
                  <c:v>Schick</c:v>
                </c:pt>
                <c:pt idx="21">
                  <c:v>Bic</c:v>
                </c:pt>
                <c:pt idx="22">
                  <c:v>Bic</c:v>
                </c:pt>
                <c:pt idx="23">
                  <c:v>Schick</c:v>
                </c:pt>
                <c:pt idx="24">
                  <c:v>Bic</c:v>
                </c:pt>
                <c:pt idx="25">
                  <c:v>Schick</c:v>
                </c:pt>
                <c:pt idx="26">
                  <c:v>Gillette</c:v>
                </c:pt>
                <c:pt idx="27">
                  <c:v>Equate</c:v>
                </c:pt>
                <c:pt idx="28">
                  <c:v>Gillette</c:v>
                </c:pt>
                <c:pt idx="29">
                  <c:v>Harry's</c:v>
                </c:pt>
                <c:pt idx="30">
                  <c:v>Dollar Shav</c:v>
                </c:pt>
                <c:pt idx="31">
                  <c:v>Bic</c:v>
                </c:pt>
                <c:pt idx="32">
                  <c:v>Equate</c:v>
                </c:pt>
                <c:pt idx="33">
                  <c:v>Dollar Shav</c:v>
                </c:pt>
                <c:pt idx="34">
                  <c:v>Schick</c:v>
                </c:pt>
                <c:pt idx="35">
                  <c:v>Schick</c:v>
                </c:pt>
                <c:pt idx="36">
                  <c:v>Gillette</c:v>
                </c:pt>
                <c:pt idx="37">
                  <c:v>Harry's</c:v>
                </c:pt>
                <c:pt idx="38">
                  <c:v>Harry's</c:v>
                </c:pt>
                <c:pt idx="39">
                  <c:v>Gillette</c:v>
                </c:pt>
                <c:pt idx="40">
                  <c:v>Gillette</c:v>
                </c:pt>
                <c:pt idx="41">
                  <c:v>Gillette</c:v>
                </c:pt>
                <c:pt idx="42">
                  <c:v>Bic</c:v>
                </c:pt>
                <c:pt idx="43">
                  <c:v>Gillette</c:v>
                </c:pt>
                <c:pt idx="44">
                  <c:v>Bic</c:v>
                </c:pt>
                <c:pt idx="45">
                  <c:v>Gillette</c:v>
                </c:pt>
                <c:pt idx="46">
                  <c:v>Gillette</c:v>
                </c:pt>
                <c:pt idx="47">
                  <c:v>Bic</c:v>
                </c:pt>
                <c:pt idx="48">
                  <c:v>Equate</c:v>
                </c:pt>
                <c:pt idx="49">
                  <c:v>Comfort 3</c:v>
                </c:pt>
                <c:pt idx="50">
                  <c:v>Gillette</c:v>
                </c:pt>
                <c:pt idx="51">
                  <c:v>Equate</c:v>
                </c:pt>
                <c:pt idx="52">
                  <c:v>Equate</c:v>
                </c:pt>
                <c:pt idx="53">
                  <c:v>Gillette</c:v>
                </c:pt>
                <c:pt idx="54">
                  <c:v>Gillette</c:v>
                </c:pt>
                <c:pt idx="55">
                  <c:v>Equate</c:v>
                </c:pt>
                <c:pt idx="56">
                  <c:v>Gillette</c:v>
                </c:pt>
                <c:pt idx="57">
                  <c:v>Gillette</c:v>
                </c:pt>
                <c:pt idx="58">
                  <c:v>Bic</c:v>
                </c:pt>
                <c:pt idx="59">
                  <c:v>Equate</c:v>
                </c:pt>
                <c:pt idx="60">
                  <c:v>Gillette</c:v>
                </c:pt>
                <c:pt idx="61">
                  <c:v>Dollar Shav</c:v>
                </c:pt>
                <c:pt idx="62">
                  <c:v>Bic</c:v>
                </c:pt>
                <c:pt idx="63">
                  <c:v>Schick</c:v>
                </c:pt>
                <c:pt idx="64">
                  <c:v>Equate</c:v>
                </c:pt>
                <c:pt idx="65">
                  <c:v>Gillette</c:v>
                </c:pt>
                <c:pt idx="66">
                  <c:v>Gillette</c:v>
                </c:pt>
                <c:pt idx="67">
                  <c:v>Bic</c:v>
                </c:pt>
                <c:pt idx="68">
                  <c:v>Gillette</c:v>
                </c:pt>
                <c:pt idx="69">
                  <c:v>Gillette</c:v>
                </c:pt>
                <c:pt idx="70">
                  <c:v>Gillette</c:v>
                </c:pt>
                <c:pt idx="71">
                  <c:v>Gillette</c:v>
                </c:pt>
                <c:pt idx="72">
                  <c:v>Bic</c:v>
                </c:pt>
                <c:pt idx="73">
                  <c:v>Gillette</c:v>
                </c:pt>
                <c:pt idx="74">
                  <c:v>Gillette</c:v>
                </c:pt>
                <c:pt idx="75">
                  <c:v>Gillette</c:v>
                </c:pt>
                <c:pt idx="76">
                  <c:v>Equate</c:v>
                </c:pt>
                <c:pt idx="77">
                  <c:v>Gillette</c:v>
                </c:pt>
                <c:pt idx="78">
                  <c:v>Gillette</c:v>
                </c:pt>
                <c:pt idx="79">
                  <c:v>Gillette</c:v>
                </c:pt>
                <c:pt idx="80">
                  <c:v>Schick</c:v>
                </c:pt>
                <c:pt idx="81">
                  <c:v>Bic</c:v>
                </c:pt>
                <c:pt idx="82">
                  <c:v>Schick</c:v>
                </c:pt>
                <c:pt idx="83">
                  <c:v>Harry's</c:v>
                </c:pt>
                <c:pt idx="84">
                  <c:v>Bic</c:v>
                </c:pt>
                <c:pt idx="85">
                  <c:v>Gillette</c:v>
                </c:pt>
                <c:pt idx="86">
                  <c:v>Gillette</c:v>
                </c:pt>
                <c:pt idx="87">
                  <c:v>Dollar Shav</c:v>
                </c:pt>
                <c:pt idx="88">
                  <c:v>Bic</c:v>
                </c:pt>
                <c:pt idx="89">
                  <c:v>Bic</c:v>
                </c:pt>
                <c:pt idx="90">
                  <c:v>Bic</c:v>
                </c:pt>
                <c:pt idx="91">
                  <c:v>Bic</c:v>
                </c:pt>
                <c:pt idx="92">
                  <c:v>Gillette</c:v>
                </c:pt>
                <c:pt idx="93">
                  <c:v>Schick</c:v>
                </c:pt>
                <c:pt idx="94">
                  <c:v>Harry's</c:v>
                </c:pt>
                <c:pt idx="95">
                  <c:v>Harry's</c:v>
                </c:pt>
                <c:pt idx="96">
                  <c:v>Van Der Hag</c:v>
                </c:pt>
                <c:pt idx="97">
                  <c:v>Gillette</c:v>
                </c:pt>
                <c:pt idx="98">
                  <c:v>Van Der Hag</c:v>
                </c:pt>
                <c:pt idx="99">
                  <c:v>Bic</c:v>
                </c:pt>
                <c:pt idx="100">
                  <c:v>Gillette</c:v>
                </c:pt>
                <c:pt idx="101">
                  <c:v>Bic</c:v>
                </c:pt>
                <c:pt idx="102">
                  <c:v>Gillette</c:v>
                </c:pt>
                <c:pt idx="103">
                  <c:v>Equate</c:v>
                </c:pt>
                <c:pt idx="104">
                  <c:v>Bic</c:v>
                </c:pt>
                <c:pt idx="105">
                  <c:v>Schick</c:v>
                </c:pt>
                <c:pt idx="106">
                  <c:v>Harry's</c:v>
                </c:pt>
              </c:strCache>
            </c:strRef>
          </c:cat>
          <c:val>
            <c:numRef>
              <c:f>Sheet1!$C$2:$C$108</c:f>
              <c:numCache>
                <c:formatCode>General</c:formatCode>
                <c:ptCount val="107"/>
                <c:pt idx="0">
                  <c:v>6.1087047744617616E-2</c:v>
                </c:pt>
                <c:pt idx="1">
                  <c:v>0.11496672950225129</c:v>
                </c:pt>
                <c:pt idx="2">
                  <c:v>0.15531844008005341</c:v>
                </c:pt>
                <c:pt idx="3">
                  <c:v>0.18654378119524143</c:v>
                </c:pt>
                <c:pt idx="4">
                  <c:v>0.21732832399554053</c:v>
                </c:pt>
                <c:pt idx="5">
                  <c:v>0.24481174850342519</c:v>
                </c:pt>
                <c:pt idx="6">
                  <c:v>0.27186728510731728</c:v>
                </c:pt>
                <c:pt idx="7">
                  <c:v>0.29808449340137838</c:v>
                </c:pt>
                <c:pt idx="8">
                  <c:v>0.32086672088547424</c:v>
                </c:pt>
                <c:pt idx="9">
                  <c:v>0.34317860365717273</c:v>
                </c:pt>
                <c:pt idx="10">
                  <c:v>0.36381995303266296</c:v>
                </c:pt>
                <c:pt idx="11">
                  <c:v>0.38331238649904487</c:v>
                </c:pt>
                <c:pt idx="12">
                  <c:v>0.40225974241738377</c:v>
                </c:pt>
                <c:pt idx="13">
                  <c:v>0.42097371499360536</c:v>
                </c:pt>
                <c:pt idx="14">
                  <c:v>0.43917850096407579</c:v>
                </c:pt>
                <c:pt idx="15">
                  <c:v>0.4552899929118156</c:v>
                </c:pt>
                <c:pt idx="16">
                  <c:v>0.47113719030506346</c:v>
                </c:pt>
                <c:pt idx="17">
                  <c:v>0.48688272743422484</c:v>
                </c:pt>
                <c:pt idx="18">
                  <c:v>0.50225611274757753</c:v>
                </c:pt>
                <c:pt idx="19">
                  <c:v>0.51743989945519553</c:v>
                </c:pt>
                <c:pt idx="20">
                  <c:v>0.53253486253584681</c:v>
                </c:pt>
                <c:pt idx="21">
                  <c:v>0.54733259107077636</c:v>
                </c:pt>
                <c:pt idx="22">
                  <c:v>0.56147716347501653</c:v>
                </c:pt>
                <c:pt idx="23">
                  <c:v>0.57397650688840518</c:v>
                </c:pt>
                <c:pt idx="24">
                  <c:v>0.58621011715865923</c:v>
                </c:pt>
                <c:pt idx="25">
                  <c:v>0.59827342066574651</c:v>
                </c:pt>
                <c:pt idx="26">
                  <c:v>0.61014078102231584</c:v>
                </c:pt>
                <c:pt idx="27">
                  <c:v>0.62197560714342637</c:v>
                </c:pt>
                <c:pt idx="28">
                  <c:v>0.63371563396166963</c:v>
                </c:pt>
                <c:pt idx="29">
                  <c:v>0.64507948829328221</c:v>
                </c:pt>
                <c:pt idx="30">
                  <c:v>0.65598882238756751</c:v>
                </c:pt>
                <c:pt idx="31">
                  <c:v>0.66687868020484342</c:v>
                </c:pt>
                <c:pt idx="32">
                  <c:v>0.67767635768831957</c:v>
                </c:pt>
                <c:pt idx="33">
                  <c:v>0.68837610048342501</c:v>
                </c:pt>
                <c:pt idx="34">
                  <c:v>0.69904917405830747</c:v>
                </c:pt>
                <c:pt idx="35">
                  <c:v>0.70967872110502517</c:v>
                </c:pt>
                <c:pt idx="36">
                  <c:v>0.72028458676947016</c:v>
                </c:pt>
                <c:pt idx="37">
                  <c:v>0.73046739671228667</c:v>
                </c:pt>
                <c:pt idx="38">
                  <c:v>0.74033482376034998</c:v>
                </c:pt>
                <c:pt idx="39">
                  <c:v>0.750152748604348</c:v>
                </c:pt>
                <c:pt idx="40">
                  <c:v>0.75969841132598659</c:v>
                </c:pt>
                <c:pt idx="41">
                  <c:v>0.76924296744097687</c:v>
                </c:pt>
                <c:pt idx="42">
                  <c:v>0.77870412230157693</c:v>
                </c:pt>
                <c:pt idx="43">
                  <c:v>0.7879931629414848</c:v>
                </c:pt>
                <c:pt idx="44">
                  <c:v>0.79725575568249929</c:v>
                </c:pt>
                <c:pt idx="45">
                  <c:v>0.80645239466727769</c:v>
                </c:pt>
                <c:pt idx="46">
                  <c:v>0.81549204305555678</c:v>
                </c:pt>
                <c:pt idx="47">
                  <c:v>0.82422099318389364</c:v>
                </c:pt>
                <c:pt idx="48">
                  <c:v>0.83287967379006622</c:v>
                </c:pt>
                <c:pt idx="49">
                  <c:v>0.84148490529512798</c:v>
                </c:pt>
                <c:pt idx="50">
                  <c:v>0.84990821066721634</c:v>
                </c:pt>
                <c:pt idx="51">
                  <c:v>0.85825047554576406</c:v>
                </c:pt>
                <c:pt idx="52">
                  <c:v>0.86623169156187385</c:v>
                </c:pt>
                <c:pt idx="53">
                  <c:v>0.87397720036190496</c:v>
                </c:pt>
                <c:pt idx="54">
                  <c:v>0.88047032553121574</c:v>
                </c:pt>
                <c:pt idx="55">
                  <c:v>0.88692711711557548</c:v>
                </c:pt>
                <c:pt idx="56">
                  <c:v>0.89333304168100369</c:v>
                </c:pt>
                <c:pt idx="57">
                  <c:v>0.89956441749111349</c:v>
                </c:pt>
                <c:pt idx="58">
                  <c:v>0.90573570456022301</c:v>
                </c:pt>
                <c:pt idx="59">
                  <c:v>0.91178817896219799</c:v>
                </c:pt>
                <c:pt idx="60">
                  <c:v>0.9176824455003606</c:v>
                </c:pt>
                <c:pt idx="61">
                  <c:v>0.92344513650804549</c:v>
                </c:pt>
                <c:pt idx="62">
                  <c:v>0.92907300593908437</c:v>
                </c:pt>
                <c:pt idx="63">
                  <c:v>0.93445104047583527</c:v>
                </c:pt>
                <c:pt idx="64">
                  <c:v>0.9394112941159809</c:v>
                </c:pt>
                <c:pt idx="65">
                  <c:v>0.94432927538216316</c:v>
                </c:pt>
                <c:pt idx="66">
                  <c:v>0.94898705653845206</c:v>
                </c:pt>
                <c:pt idx="67">
                  <c:v>0.95328316175520234</c:v>
                </c:pt>
                <c:pt idx="68">
                  <c:v>0.95746561846917666</c:v>
                </c:pt>
                <c:pt idx="69">
                  <c:v>0.96061538985899786</c:v>
                </c:pt>
                <c:pt idx="70">
                  <c:v>0.96322318219939129</c:v>
                </c:pt>
                <c:pt idx="71">
                  <c:v>0.96577346788096363</c:v>
                </c:pt>
                <c:pt idx="72">
                  <c:v>0.96830084680491701</c:v>
                </c:pt>
                <c:pt idx="73">
                  <c:v>0.97080266311529573</c:v>
                </c:pt>
                <c:pt idx="74">
                  <c:v>0.97300326109601898</c:v>
                </c:pt>
                <c:pt idx="75">
                  <c:v>0.97476663879001602</c:v>
                </c:pt>
                <c:pt idx="76">
                  <c:v>0.97650331037690175</c:v>
                </c:pt>
                <c:pt idx="77">
                  <c:v>0.97822504277403599</c:v>
                </c:pt>
                <c:pt idx="78">
                  <c:v>0.97993548778335804</c:v>
                </c:pt>
                <c:pt idx="79">
                  <c:v>0.98149344239655034</c:v>
                </c:pt>
                <c:pt idx="80">
                  <c:v>0.98289835331028874</c:v>
                </c:pt>
                <c:pt idx="81">
                  <c:v>0.98429489090038869</c:v>
                </c:pt>
                <c:pt idx="82">
                  <c:v>0.98566652984090286</c:v>
                </c:pt>
                <c:pt idx="83">
                  <c:v>0.98697712098132151</c:v>
                </c:pt>
                <c:pt idx="84">
                  <c:v>0.98828332258203544</c:v>
                </c:pt>
                <c:pt idx="85">
                  <c:v>0.98956108439188917</c:v>
                </c:pt>
                <c:pt idx="86">
                  <c:v>0.99080627507939589</c:v>
                </c:pt>
                <c:pt idx="87">
                  <c:v>0.99189218818333014</c:v>
                </c:pt>
                <c:pt idx="88">
                  <c:v>0.99286629712890218</c:v>
                </c:pt>
                <c:pt idx="89">
                  <c:v>0.99376545191749899</c:v>
                </c:pt>
                <c:pt idx="90">
                  <c:v>0.99464937242123819</c:v>
                </c:pt>
                <c:pt idx="91">
                  <c:v>0.9954692941738198</c:v>
                </c:pt>
                <c:pt idx="92">
                  <c:v>0.99627423984976171</c:v>
                </c:pt>
                <c:pt idx="93">
                  <c:v>0.99693248637103304</c:v>
                </c:pt>
                <c:pt idx="94">
                  <c:v>0.99747505561067329</c:v>
                </c:pt>
                <c:pt idx="95">
                  <c:v>0.99792323130321725</c:v>
                </c:pt>
                <c:pt idx="96">
                  <c:v>0.99833061009732882</c:v>
                </c:pt>
                <c:pt idx="97">
                  <c:v>0.99872419319522543</c:v>
                </c:pt>
                <c:pt idx="98">
                  <c:v>0.99903876457843654</c:v>
                </c:pt>
                <c:pt idx="99">
                  <c:v>0.99921172719755902</c:v>
                </c:pt>
                <c:pt idx="100">
                  <c:v>0.99935525407983794</c:v>
                </c:pt>
                <c:pt idx="101">
                  <c:v>0.99945938576543891</c:v>
                </c:pt>
                <c:pt idx="102">
                  <c:v>0.99953109387624595</c:v>
                </c:pt>
                <c:pt idx="103">
                  <c:v>0.99962799573174499</c:v>
                </c:pt>
                <c:pt idx="104">
                  <c:v>0.9997081140530788</c:v>
                </c:pt>
                <c:pt idx="105">
                  <c:v>0.99980870459740534</c:v>
                </c:pt>
                <c:pt idx="106">
                  <c:v>0.999859165860565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6</c:f>
              <c:strCache>
                <c:ptCount val="135"/>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strCache>
            </c:strRef>
          </c:cat>
          <c:val>
            <c:numRef>
              <c:f>Sheet1!$B$2:$B$136</c:f>
              <c:numCache>
                <c:formatCode>General</c:formatCode>
                <c:ptCount val="135"/>
                <c:pt idx="0">
                  <c:v>0.99</c:v>
                </c:pt>
                <c:pt idx="1">
                  <c:v>0.99</c:v>
                </c:pt>
                <c:pt idx="2">
                  <c:v>0.99</c:v>
                </c:pt>
                <c:pt idx="3">
                  <c:v>0.94</c:v>
                </c:pt>
                <c:pt idx="4">
                  <c:v>0.94</c:v>
                </c:pt>
                <c:pt idx="5">
                  <c:v>0.88</c:v>
                </c:pt>
                <c:pt idx="6">
                  <c:v>0.65</c:v>
                </c:pt>
                <c:pt idx="7">
                  <c:v>0.96</c:v>
                </c:pt>
                <c:pt idx="8">
                  <c:v>0.92</c:v>
                </c:pt>
                <c:pt idx="9">
                  <c:v>0.84</c:v>
                </c:pt>
                <c:pt idx="10">
                  <c:v>0.99</c:v>
                </c:pt>
                <c:pt idx="11">
                  <c:v>0.86</c:v>
                </c:pt>
                <c:pt idx="12">
                  <c:v>0.98</c:v>
                </c:pt>
                <c:pt idx="13">
                  <c:v>0.89</c:v>
                </c:pt>
                <c:pt idx="14">
                  <c:v>0.81</c:v>
                </c:pt>
                <c:pt idx="15">
                  <c:v>0.95</c:v>
                </c:pt>
                <c:pt idx="16">
                  <c:v>0.91</c:v>
                </c:pt>
                <c:pt idx="17">
                  <c:v>0.87</c:v>
                </c:pt>
                <c:pt idx="18">
                  <c:v>0.94</c:v>
                </c:pt>
                <c:pt idx="19">
                  <c:v>0.66</c:v>
                </c:pt>
                <c:pt idx="20">
                  <c:v>0.69</c:v>
                </c:pt>
                <c:pt idx="21">
                  <c:v>0.97</c:v>
                </c:pt>
                <c:pt idx="22">
                  <c:v>0.75</c:v>
                </c:pt>
                <c:pt idx="23">
                  <c:v>0.96</c:v>
                </c:pt>
                <c:pt idx="24">
                  <c:v>0.96</c:v>
                </c:pt>
                <c:pt idx="25">
                  <c:v>0.83</c:v>
                </c:pt>
                <c:pt idx="26">
                  <c:v>0.99</c:v>
                </c:pt>
                <c:pt idx="27">
                  <c:v>0.66</c:v>
                </c:pt>
                <c:pt idx="28">
                  <c:v>0.8</c:v>
                </c:pt>
                <c:pt idx="29">
                  <c:v>0.68</c:v>
                </c:pt>
                <c:pt idx="30">
                  <c:v>0.76</c:v>
                </c:pt>
                <c:pt idx="31">
                  <c:v>0.84</c:v>
                </c:pt>
                <c:pt idx="32">
                  <c:v>0.95</c:v>
                </c:pt>
                <c:pt idx="33">
                  <c:v>0.88</c:v>
                </c:pt>
                <c:pt idx="34">
                  <c:v>0.46</c:v>
                </c:pt>
                <c:pt idx="35">
                  <c:v>0.91</c:v>
                </c:pt>
                <c:pt idx="36">
                  <c:v>0.86</c:v>
                </c:pt>
                <c:pt idx="37">
                  <c:v>0.62</c:v>
                </c:pt>
                <c:pt idx="38">
                  <c:v>0.87</c:v>
                </c:pt>
                <c:pt idx="39">
                  <c:v>0.64</c:v>
                </c:pt>
                <c:pt idx="40">
                  <c:v>0.56999999999999995</c:v>
                </c:pt>
                <c:pt idx="41">
                  <c:v>0.87</c:v>
                </c:pt>
                <c:pt idx="42">
                  <c:v>0.86</c:v>
                </c:pt>
                <c:pt idx="43">
                  <c:v>0.96</c:v>
                </c:pt>
                <c:pt idx="44">
                  <c:v>0.81</c:v>
                </c:pt>
                <c:pt idx="45">
                  <c:v>0.63</c:v>
                </c:pt>
                <c:pt idx="46">
                  <c:v>0.67</c:v>
                </c:pt>
                <c:pt idx="47">
                  <c:v>0.99</c:v>
                </c:pt>
                <c:pt idx="48">
                  <c:v>0.49</c:v>
                </c:pt>
                <c:pt idx="49">
                  <c:v>0.84</c:v>
                </c:pt>
                <c:pt idx="50">
                  <c:v>0.81</c:v>
                </c:pt>
                <c:pt idx="51">
                  <c:v>0.9</c:v>
                </c:pt>
                <c:pt idx="52">
                  <c:v>0.93</c:v>
                </c:pt>
                <c:pt idx="53">
                  <c:v>0.9</c:v>
                </c:pt>
                <c:pt idx="54">
                  <c:v>0.97</c:v>
                </c:pt>
                <c:pt idx="55">
                  <c:v>0.65</c:v>
                </c:pt>
                <c:pt idx="56">
                  <c:v>0.67</c:v>
                </c:pt>
                <c:pt idx="57">
                  <c:v>0.65</c:v>
                </c:pt>
                <c:pt idx="58">
                  <c:v>0.91</c:v>
                </c:pt>
                <c:pt idx="59">
                  <c:v>0.91</c:v>
                </c:pt>
                <c:pt idx="60">
                  <c:v>0.95</c:v>
                </c:pt>
                <c:pt idx="61">
                  <c:v>0.59</c:v>
                </c:pt>
                <c:pt idx="62">
                  <c:v>0.96</c:v>
                </c:pt>
                <c:pt idx="63">
                  <c:v>0.73</c:v>
                </c:pt>
                <c:pt idx="64">
                  <c:v>0.64</c:v>
                </c:pt>
                <c:pt idx="65">
                  <c:v>0.89</c:v>
                </c:pt>
                <c:pt idx="66">
                  <c:v>0.93</c:v>
                </c:pt>
                <c:pt idx="67">
                  <c:v>0.9</c:v>
                </c:pt>
                <c:pt idx="68">
                  <c:v>0.56999999999999995</c:v>
                </c:pt>
                <c:pt idx="69">
                  <c:v>0.64</c:v>
                </c:pt>
                <c:pt idx="70">
                  <c:v>0.66</c:v>
                </c:pt>
                <c:pt idx="71">
                  <c:v>0.77</c:v>
                </c:pt>
                <c:pt idx="72">
                  <c:v>0.67</c:v>
                </c:pt>
                <c:pt idx="73">
                  <c:v>0.6</c:v>
                </c:pt>
                <c:pt idx="74">
                  <c:v>0.68</c:v>
                </c:pt>
                <c:pt idx="75">
                  <c:v>0.57999999999999996</c:v>
                </c:pt>
                <c:pt idx="76">
                  <c:v>0.35</c:v>
                </c:pt>
                <c:pt idx="77">
                  <c:v>0.89</c:v>
                </c:pt>
                <c:pt idx="78">
                  <c:v>0.83</c:v>
                </c:pt>
                <c:pt idx="79">
                  <c:v>0.75</c:v>
                </c:pt>
                <c:pt idx="80">
                  <c:v>0.87</c:v>
                </c:pt>
                <c:pt idx="81">
                  <c:v>0.98</c:v>
                </c:pt>
                <c:pt idx="82">
                  <c:v>0.46</c:v>
                </c:pt>
                <c:pt idx="83">
                  <c:v>0.91</c:v>
                </c:pt>
                <c:pt idx="84">
                  <c:v>0.41</c:v>
                </c:pt>
                <c:pt idx="85">
                  <c:v>0.8</c:v>
                </c:pt>
                <c:pt idx="86">
                  <c:v>0.49</c:v>
                </c:pt>
                <c:pt idx="87">
                  <c:v>0.87</c:v>
                </c:pt>
                <c:pt idx="88">
                  <c:v>0.21</c:v>
                </c:pt>
                <c:pt idx="89">
                  <c:v>0.26</c:v>
                </c:pt>
                <c:pt idx="90">
                  <c:v>0.6</c:v>
                </c:pt>
                <c:pt idx="91">
                  <c:v>0.47</c:v>
                </c:pt>
                <c:pt idx="92">
                  <c:v>0.6</c:v>
                </c:pt>
                <c:pt idx="93">
                  <c:v>0.31</c:v>
                </c:pt>
                <c:pt idx="94">
                  <c:v>0.83</c:v>
                </c:pt>
                <c:pt idx="95">
                  <c:v>0.84</c:v>
                </c:pt>
                <c:pt idx="96">
                  <c:v>0.74</c:v>
                </c:pt>
                <c:pt idx="97">
                  <c:v>0.17</c:v>
                </c:pt>
                <c:pt idx="98">
                  <c:v>0.69</c:v>
                </c:pt>
                <c:pt idx="99">
                  <c:v>0.74</c:v>
                </c:pt>
                <c:pt idx="100">
                  <c:v>0.52</c:v>
                </c:pt>
                <c:pt idx="101">
                  <c:v>0.64</c:v>
                </c:pt>
                <c:pt idx="102">
                  <c:v>0.78</c:v>
                </c:pt>
                <c:pt idx="103">
                  <c:v>0.71</c:v>
                </c:pt>
                <c:pt idx="104">
                  <c:v>0.38</c:v>
                </c:pt>
                <c:pt idx="105">
                  <c:v>0.46</c:v>
                </c:pt>
                <c:pt idx="106">
                  <c:v>0.56000000000000005</c:v>
                </c:pt>
                <c:pt idx="107">
                  <c:v>0.86</c:v>
                </c:pt>
                <c:pt idx="108">
                  <c:v>0.91</c:v>
                </c:pt>
                <c:pt idx="109">
                  <c:v>0.84</c:v>
                </c:pt>
                <c:pt idx="110">
                  <c:v>0.61</c:v>
                </c:pt>
                <c:pt idx="111">
                  <c:v>0.66</c:v>
                </c:pt>
                <c:pt idx="112">
                  <c:v>0.33</c:v>
                </c:pt>
                <c:pt idx="113">
                  <c:v>0.75</c:v>
                </c:pt>
                <c:pt idx="114">
                  <c:v>0.65</c:v>
                </c:pt>
                <c:pt idx="115">
                  <c:v>0.53</c:v>
                </c:pt>
                <c:pt idx="116">
                  <c:v>0.56000000000000005</c:v>
                </c:pt>
                <c:pt idx="117">
                  <c:v>0.73</c:v>
                </c:pt>
                <c:pt idx="118">
                  <c:v>0.35</c:v>
                </c:pt>
                <c:pt idx="119">
                  <c:v>0.42</c:v>
                </c:pt>
                <c:pt idx="120">
                  <c:v>0.18</c:v>
                </c:pt>
                <c:pt idx="121">
                  <c:v>0.68</c:v>
                </c:pt>
                <c:pt idx="122">
                  <c:v>0.19</c:v>
                </c:pt>
                <c:pt idx="123">
                  <c:v>0.55000000000000004</c:v>
                </c:pt>
                <c:pt idx="124">
                  <c:v>0.06</c:v>
                </c:pt>
                <c:pt idx="125">
                  <c:v>0.05</c:v>
                </c:pt>
                <c:pt idx="126">
                  <c:v>0.13</c:v>
                </c:pt>
                <c:pt idx="127">
                  <c:v>7.0000000000000007E-2</c:v>
                </c:pt>
                <c:pt idx="128">
                  <c:v>0.04</c:v>
                </c:pt>
                <c:pt idx="129">
                  <c:v>0.33</c:v>
                </c:pt>
                <c:pt idx="130">
                  <c:v>0.02</c:v>
                </c:pt>
                <c:pt idx="131">
                  <c:v>0.01</c:v>
                </c:pt>
                <c:pt idx="132">
                  <c:v>0.01</c:v>
                </c:pt>
                <c:pt idx="133">
                  <c:v>0.01</c:v>
                </c:pt>
                <c:pt idx="13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6</c:f>
              <c:strCache>
                <c:ptCount val="135"/>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pt idx="23">
                  <c:v>Gillette</c:v>
                </c:pt>
                <c:pt idx="24">
                  <c:v>Bic</c:v>
                </c:pt>
                <c:pt idx="25">
                  <c:v>Gillette</c:v>
                </c:pt>
                <c:pt idx="26">
                  <c:v>Bic</c:v>
                </c:pt>
                <c:pt idx="27">
                  <c:v>Gillette</c:v>
                </c:pt>
                <c:pt idx="28">
                  <c:v>Schick</c:v>
                </c:pt>
                <c:pt idx="29">
                  <c:v>Gillette</c:v>
                </c:pt>
                <c:pt idx="30">
                  <c:v>Gillette</c:v>
                </c:pt>
                <c:pt idx="31">
                  <c:v>Bic</c:v>
                </c:pt>
                <c:pt idx="32">
                  <c:v>Schick</c:v>
                </c:pt>
                <c:pt idx="33">
                  <c:v>Dollar Shav</c:v>
                </c:pt>
                <c:pt idx="34">
                  <c:v>Gillette</c:v>
                </c:pt>
                <c:pt idx="35">
                  <c:v>Dollar Shav</c:v>
                </c:pt>
                <c:pt idx="36">
                  <c:v>Equate</c:v>
                </c:pt>
                <c:pt idx="37">
                  <c:v>Gillette</c:v>
                </c:pt>
                <c:pt idx="38">
                  <c:v>Schick</c:v>
                </c:pt>
                <c:pt idx="39">
                  <c:v>Bic</c:v>
                </c:pt>
                <c:pt idx="40">
                  <c:v>Gillette</c:v>
                </c:pt>
                <c:pt idx="41">
                  <c:v>Schick</c:v>
                </c:pt>
                <c:pt idx="42">
                  <c:v>Harry's</c:v>
                </c:pt>
                <c:pt idx="43">
                  <c:v>Schick</c:v>
                </c:pt>
                <c:pt idx="44">
                  <c:v>Gillette</c:v>
                </c:pt>
                <c:pt idx="45">
                  <c:v>Gillette</c:v>
                </c:pt>
                <c:pt idx="46">
                  <c:v>Gillette</c:v>
                </c:pt>
                <c:pt idx="47">
                  <c:v>Equate</c:v>
                </c:pt>
                <c:pt idx="48">
                  <c:v>Schick</c:v>
                </c:pt>
                <c:pt idx="49">
                  <c:v>Gillette</c:v>
                </c:pt>
                <c:pt idx="50">
                  <c:v>Bic</c:v>
                </c:pt>
                <c:pt idx="51">
                  <c:v>Gillette</c:v>
                </c:pt>
                <c:pt idx="52">
                  <c:v>Equate</c:v>
                </c:pt>
                <c:pt idx="53">
                  <c:v>Bic</c:v>
                </c:pt>
                <c:pt idx="54">
                  <c:v>Equate</c:v>
                </c:pt>
                <c:pt idx="55">
                  <c:v>Van Der Hag</c:v>
                </c:pt>
                <c:pt idx="56">
                  <c:v>Gillette</c:v>
                </c:pt>
                <c:pt idx="57">
                  <c:v>Gillette</c:v>
                </c:pt>
                <c:pt idx="58">
                  <c:v>Bic</c:v>
                </c:pt>
                <c:pt idx="59">
                  <c:v>Bic</c:v>
                </c:pt>
                <c:pt idx="60">
                  <c:v>Equate</c:v>
                </c:pt>
                <c:pt idx="61">
                  <c:v>Dollar Shav</c:v>
                </c:pt>
                <c:pt idx="62">
                  <c:v>Bic</c:v>
                </c:pt>
                <c:pt idx="63">
                  <c:v>Schick</c:v>
                </c:pt>
                <c:pt idx="64">
                  <c:v>Gillette</c:v>
                </c:pt>
                <c:pt idx="65">
                  <c:v>Comfort 3</c:v>
                </c:pt>
                <c:pt idx="66">
                  <c:v>Van Der Hag</c:v>
                </c:pt>
                <c:pt idx="67">
                  <c:v>Bic</c:v>
                </c:pt>
                <c:pt idx="68">
                  <c:v>Gillette</c:v>
                </c:pt>
                <c:pt idx="69">
                  <c:v>Gillette</c:v>
                </c:pt>
                <c:pt idx="70">
                  <c:v>Comfort 3</c:v>
                </c:pt>
                <c:pt idx="71">
                  <c:v>Equate</c:v>
                </c:pt>
                <c:pt idx="72">
                  <c:v>Gillette</c:v>
                </c:pt>
                <c:pt idx="73">
                  <c:v>Equate</c:v>
                </c:pt>
                <c:pt idx="74">
                  <c:v>Gillette</c:v>
                </c:pt>
                <c:pt idx="75">
                  <c:v>Harry's</c:v>
                </c:pt>
                <c:pt idx="76">
                  <c:v>Gillette</c:v>
                </c:pt>
                <c:pt idx="77">
                  <c:v>Gillette</c:v>
                </c:pt>
                <c:pt idx="78">
                  <c:v>Bic</c:v>
                </c:pt>
                <c:pt idx="79">
                  <c:v>Bic</c:v>
                </c:pt>
                <c:pt idx="80">
                  <c:v>Bic</c:v>
                </c:pt>
                <c:pt idx="81">
                  <c:v>Equate</c:v>
                </c:pt>
                <c:pt idx="82">
                  <c:v>Gillette</c:v>
                </c:pt>
                <c:pt idx="83">
                  <c:v>Schick</c:v>
                </c:pt>
                <c:pt idx="84">
                  <c:v>Gillette</c:v>
                </c:pt>
                <c:pt idx="85">
                  <c:v>Bic</c:v>
                </c:pt>
                <c:pt idx="86">
                  <c:v>Gillette</c:v>
                </c:pt>
                <c:pt idx="87">
                  <c:v>Schick</c:v>
                </c:pt>
                <c:pt idx="88">
                  <c:v>Gillette</c:v>
                </c:pt>
                <c:pt idx="89">
                  <c:v>Harry's</c:v>
                </c:pt>
                <c:pt idx="90">
                  <c:v>Bic</c:v>
                </c:pt>
                <c:pt idx="91">
                  <c:v>Gillette</c:v>
                </c:pt>
                <c:pt idx="92">
                  <c:v>Gillette</c:v>
                </c:pt>
                <c:pt idx="93">
                  <c:v>Gillette</c:v>
                </c:pt>
                <c:pt idx="94">
                  <c:v>Bic</c:v>
                </c:pt>
                <c:pt idx="95">
                  <c:v>Gillette</c:v>
                </c:pt>
                <c:pt idx="96">
                  <c:v>Harry's</c:v>
                </c:pt>
                <c:pt idx="97">
                  <c:v>Gillette</c:v>
                </c:pt>
                <c:pt idx="98">
                  <c:v>Gillette</c:v>
                </c:pt>
                <c:pt idx="99">
                  <c:v>Gillette</c:v>
                </c:pt>
                <c:pt idx="100">
                  <c:v>Bic</c:v>
                </c:pt>
                <c:pt idx="101">
                  <c:v>Gillette</c:v>
                </c:pt>
                <c:pt idx="102">
                  <c:v>Bic</c:v>
                </c:pt>
                <c:pt idx="103">
                  <c:v>Equate</c:v>
                </c:pt>
                <c:pt idx="104">
                  <c:v>Gillette</c:v>
                </c:pt>
                <c:pt idx="105">
                  <c:v>Gillette</c:v>
                </c:pt>
                <c:pt idx="106">
                  <c:v>Gillette</c:v>
                </c:pt>
                <c:pt idx="107">
                  <c:v>Schick</c:v>
                </c:pt>
                <c:pt idx="108">
                  <c:v>Schick</c:v>
                </c:pt>
                <c:pt idx="109">
                  <c:v>Bic</c:v>
                </c:pt>
                <c:pt idx="110">
                  <c:v>Gillette</c:v>
                </c:pt>
                <c:pt idx="111">
                  <c:v>Schick</c:v>
                </c:pt>
                <c:pt idx="112">
                  <c:v>Gillette</c:v>
                </c:pt>
                <c:pt idx="113">
                  <c:v>Bic</c:v>
                </c:pt>
                <c:pt idx="114">
                  <c:v>Dollar Shav</c:v>
                </c:pt>
                <c:pt idx="115">
                  <c:v>Bic</c:v>
                </c:pt>
                <c:pt idx="116">
                  <c:v>Gillette</c:v>
                </c:pt>
                <c:pt idx="117">
                  <c:v>Bic</c:v>
                </c:pt>
                <c:pt idx="118">
                  <c:v>Gillette</c:v>
                </c:pt>
                <c:pt idx="119">
                  <c:v>Gillette</c:v>
                </c:pt>
                <c:pt idx="120">
                  <c:v>Gillette</c:v>
                </c:pt>
                <c:pt idx="121">
                  <c:v>Harry's</c:v>
                </c:pt>
                <c:pt idx="122">
                  <c:v>Gillette</c:v>
                </c:pt>
                <c:pt idx="123">
                  <c:v>Harry's</c:v>
                </c:pt>
                <c:pt idx="124">
                  <c:v>Schick</c:v>
                </c:pt>
                <c:pt idx="125">
                  <c:v>Schick</c:v>
                </c:pt>
                <c:pt idx="126">
                  <c:v>Cremo</c:v>
                </c:pt>
                <c:pt idx="127">
                  <c:v>Cremo</c:v>
                </c:pt>
                <c:pt idx="128">
                  <c:v>Bic</c:v>
                </c:pt>
                <c:pt idx="129">
                  <c:v>Gillette</c:v>
                </c:pt>
                <c:pt idx="130">
                  <c:v>Comfort 3</c:v>
                </c:pt>
                <c:pt idx="131">
                  <c:v>Bic</c:v>
                </c:pt>
                <c:pt idx="132">
                  <c:v>Bic</c:v>
                </c:pt>
                <c:pt idx="133">
                  <c:v>Schick</c:v>
                </c:pt>
                <c:pt idx="134">
                  <c:v>Harry's</c:v>
                </c:pt>
              </c:strCache>
            </c:strRef>
          </c:cat>
          <c:val>
            <c:numRef>
              <c:f>Sheet1!$C$2:$C$136</c:f>
              <c:numCache>
                <c:formatCode>General</c:formatCode>
                <c:ptCount val="135"/>
                <c:pt idx="0">
                  <c:v>5.5111046976871095E-2</c:v>
                </c:pt>
                <c:pt idx="1">
                  <c:v>0.10851469898097899</c:v>
                </c:pt>
                <c:pt idx="2">
                  <c:v>0.14446477073573616</c:v>
                </c:pt>
                <c:pt idx="3">
                  <c:v>0.1717159257232985</c:v>
                </c:pt>
                <c:pt idx="4">
                  <c:v>0.19884952815890175</c:v>
                </c:pt>
                <c:pt idx="5">
                  <c:v>0.2248677216175192</c:v>
                </c:pt>
                <c:pt idx="6">
                  <c:v>0.24867143162166533</c:v>
                </c:pt>
                <c:pt idx="7">
                  <c:v>0.27036093617567958</c:v>
                </c:pt>
                <c:pt idx="8">
                  <c:v>0.29198019772813916</c:v>
                </c:pt>
                <c:pt idx="9">
                  <c:v>0.31098822200215476</c:v>
                </c:pt>
                <c:pt idx="10">
                  <c:v>0.32871224990712017</c:v>
                </c:pt>
                <c:pt idx="11">
                  <c:v>0.34618262537262373</c:v>
                </c:pt>
                <c:pt idx="12">
                  <c:v>0.36361396789950667</c:v>
                </c:pt>
                <c:pt idx="13">
                  <c:v>0.37984566708809203</c:v>
                </c:pt>
                <c:pt idx="14">
                  <c:v>0.39597646234920891</c:v>
                </c:pt>
                <c:pt idx="15">
                  <c:v>0.41050138318075297</c:v>
                </c:pt>
                <c:pt idx="16">
                  <c:v>0.42487230132719384</c:v>
                </c:pt>
                <c:pt idx="17">
                  <c:v>0.43856752265819615</c:v>
                </c:pt>
                <c:pt idx="18">
                  <c:v>0.45163108284370895</c:v>
                </c:pt>
                <c:pt idx="19">
                  <c:v>0.4644066462574773</c:v>
                </c:pt>
                <c:pt idx="20">
                  <c:v>0.47688302306928798</c:v>
                </c:pt>
                <c:pt idx="21">
                  <c:v>0.48893975914301141</c:v>
                </c:pt>
                <c:pt idx="22">
                  <c:v>0.50079682341173259</c:v>
                </c:pt>
                <c:pt idx="23">
                  <c:v>0.51220697856634889</c:v>
                </c:pt>
                <c:pt idx="24">
                  <c:v>0.52359539859848203</c:v>
                </c:pt>
                <c:pt idx="25">
                  <c:v>0.53494722655951255</c:v>
                </c:pt>
                <c:pt idx="26">
                  <c:v>0.54621242350189714</c:v>
                </c:pt>
                <c:pt idx="27">
                  <c:v>0.55727327399405213</c:v>
                </c:pt>
                <c:pt idx="28">
                  <c:v>0.56798449639134818</c:v>
                </c:pt>
                <c:pt idx="29">
                  <c:v>0.57828333550126088</c:v>
                </c:pt>
                <c:pt idx="30">
                  <c:v>0.58851185947721374</c:v>
                </c:pt>
                <c:pt idx="31">
                  <c:v>0.59864194133488213</c:v>
                </c:pt>
                <c:pt idx="32">
                  <c:v>0.60838528413864179</c:v>
                </c:pt>
                <c:pt idx="33">
                  <c:v>0.61787531189644784</c:v>
                </c:pt>
                <c:pt idx="34">
                  <c:v>0.6272062388368993</c:v>
                </c:pt>
                <c:pt idx="35">
                  <c:v>0.63653178376918207</c:v>
                </c:pt>
                <c:pt idx="36">
                  <c:v>0.64578563839810255</c:v>
                </c:pt>
                <c:pt idx="37">
                  <c:v>0.6548453358607409</c:v>
                </c:pt>
                <c:pt idx="38">
                  <c:v>0.66352389034800308</c:v>
                </c:pt>
                <c:pt idx="39">
                  <c:v>0.67203272426638372</c:v>
                </c:pt>
                <c:pt idx="40">
                  <c:v>0.68048541590500056</c:v>
                </c:pt>
                <c:pt idx="41">
                  <c:v>0.68886187289872747</c:v>
                </c:pt>
                <c:pt idx="42">
                  <c:v>0.69714947673035799</c:v>
                </c:pt>
                <c:pt idx="43">
                  <c:v>0.70523470960892065</c:v>
                </c:pt>
                <c:pt idx="44">
                  <c:v>0.71331859058659886</c:v>
                </c:pt>
                <c:pt idx="45">
                  <c:v>0.72130156530995682</c:v>
                </c:pt>
                <c:pt idx="46">
                  <c:v>0.72896421165607794</c:v>
                </c:pt>
                <c:pt idx="47">
                  <c:v>0.73651990426010094</c:v>
                </c:pt>
                <c:pt idx="48">
                  <c:v>0.74405895754704043</c:v>
                </c:pt>
                <c:pt idx="49">
                  <c:v>0.75144606275899906</c:v>
                </c:pt>
                <c:pt idx="50">
                  <c:v>0.75880294682003036</c:v>
                </c:pt>
                <c:pt idx="51">
                  <c:v>0.76611845712954973</c:v>
                </c:pt>
                <c:pt idx="52">
                  <c:v>0.77341001482683891</c:v>
                </c:pt>
                <c:pt idx="53">
                  <c:v>0.78067250781853581</c:v>
                </c:pt>
                <c:pt idx="54">
                  <c:v>0.78790459118431122</c:v>
                </c:pt>
                <c:pt idx="55">
                  <c:v>0.79511293135451677</c:v>
                </c:pt>
                <c:pt idx="56">
                  <c:v>0.80186532724515325</c:v>
                </c:pt>
                <c:pt idx="57">
                  <c:v>0.80855623142378208</c:v>
                </c:pt>
                <c:pt idx="58">
                  <c:v>0.81516001827174289</c:v>
                </c:pt>
                <c:pt idx="59">
                  <c:v>0.82169800640505009</c:v>
                </c:pt>
                <c:pt idx="60">
                  <c:v>0.82821610460933615</c:v>
                </c:pt>
                <c:pt idx="61">
                  <c:v>0.8347242276000385</c:v>
                </c:pt>
                <c:pt idx="62">
                  <c:v>0.84115257447744085</c:v>
                </c:pt>
                <c:pt idx="63">
                  <c:v>0.8472737047873905</c:v>
                </c:pt>
                <c:pt idx="64">
                  <c:v>0.85331511017477923</c:v>
                </c:pt>
                <c:pt idx="65">
                  <c:v>0.85913553444855839</c:v>
                </c:pt>
                <c:pt idx="66">
                  <c:v>0.86474720288798368</c:v>
                </c:pt>
                <c:pt idx="67">
                  <c:v>0.87006650938172392</c:v>
                </c:pt>
                <c:pt idx="68">
                  <c:v>0.87524725650562929</c:v>
                </c:pt>
                <c:pt idx="69">
                  <c:v>0.88022352687560523</c:v>
                </c:pt>
                <c:pt idx="70">
                  <c:v>0.88510097817730826</c:v>
                </c:pt>
                <c:pt idx="71">
                  <c:v>0.88986119105204253</c:v>
                </c:pt>
                <c:pt idx="72">
                  <c:v>0.89446486962693628</c:v>
                </c:pt>
                <c:pt idx="73">
                  <c:v>0.89905879171231373</c:v>
                </c:pt>
                <c:pt idx="74">
                  <c:v>0.90364422311554349</c:v>
                </c:pt>
                <c:pt idx="75">
                  <c:v>0.9079871546798961</c:v>
                </c:pt>
                <c:pt idx="76">
                  <c:v>0.91214743536002207</c:v>
                </c:pt>
                <c:pt idx="77">
                  <c:v>0.91629229832024928</c:v>
                </c:pt>
                <c:pt idx="78">
                  <c:v>0.92018264325215227</c:v>
                </c:pt>
                <c:pt idx="79">
                  <c:v>0.9238563070925363</c:v>
                </c:pt>
                <c:pt idx="80">
                  <c:v>0.92729972662237192</c:v>
                </c:pt>
                <c:pt idx="81">
                  <c:v>0.9307103235809896</c:v>
                </c:pt>
                <c:pt idx="82">
                  <c:v>0.93401062776520383</c:v>
                </c:pt>
                <c:pt idx="83">
                  <c:v>0.93717066932407966</c:v>
                </c:pt>
                <c:pt idx="84">
                  <c:v>0.9403092526558342</c:v>
                </c:pt>
                <c:pt idx="85">
                  <c:v>0.94328616167216472</c:v>
                </c:pt>
                <c:pt idx="86">
                  <c:v>0.94618785753153711</c:v>
                </c:pt>
                <c:pt idx="87">
                  <c:v>0.9488189242408559</c:v>
                </c:pt>
                <c:pt idx="88">
                  <c:v>0.95144225882170752</c:v>
                </c:pt>
                <c:pt idx="89">
                  <c:v>0.9539522175495464</c:v>
                </c:pt>
                <c:pt idx="90">
                  <c:v>0.95639741999232941</c:v>
                </c:pt>
                <c:pt idx="91">
                  <c:v>0.9587817845684552</c:v>
                </c:pt>
                <c:pt idx="92">
                  <c:v>0.96105570745166358</c:v>
                </c:pt>
                <c:pt idx="93">
                  <c:v>0.96331855917409959</c:v>
                </c:pt>
                <c:pt idx="94">
                  <c:v>0.96544487821460157</c:v>
                </c:pt>
                <c:pt idx="95">
                  <c:v>0.96754662104659617</c:v>
                </c:pt>
                <c:pt idx="96">
                  <c:v>0.96959454612375584</c:v>
                </c:pt>
                <c:pt idx="97">
                  <c:v>0.97149799464700237</c:v>
                </c:pt>
                <c:pt idx="98">
                  <c:v>0.97340115464062815</c:v>
                </c:pt>
                <c:pt idx="99">
                  <c:v>0.97506048383615818</c:v>
                </c:pt>
                <c:pt idx="100">
                  <c:v>0.97671571311885064</c:v>
                </c:pt>
                <c:pt idx="101">
                  <c:v>0.97817961934072994</c:v>
                </c:pt>
                <c:pt idx="102">
                  <c:v>0.97959516892890353</c:v>
                </c:pt>
                <c:pt idx="103">
                  <c:v>0.98101009026709629</c:v>
                </c:pt>
                <c:pt idx="104">
                  <c:v>0.98233512299415027</c:v>
                </c:pt>
                <c:pt idx="105">
                  <c:v>0.98361956844559406</c:v>
                </c:pt>
                <c:pt idx="106">
                  <c:v>0.98479379325503968</c:v>
                </c:pt>
                <c:pt idx="107">
                  <c:v>0.98594447963187215</c:v>
                </c:pt>
                <c:pt idx="108">
                  <c:v>0.98702418772198719</c:v>
                </c:pt>
                <c:pt idx="109">
                  <c:v>0.98809173568469655</c:v>
                </c:pt>
                <c:pt idx="110">
                  <c:v>0.98907724118047147</c:v>
                </c:pt>
                <c:pt idx="111">
                  <c:v>0.99002136594417911</c:v>
                </c:pt>
                <c:pt idx="112">
                  <c:v>0.9909583612340308</c:v>
                </c:pt>
                <c:pt idx="113">
                  <c:v>0.99187799122904341</c:v>
                </c:pt>
                <c:pt idx="114">
                  <c:v>0.99277264247019059</c:v>
                </c:pt>
                <c:pt idx="115">
                  <c:v>0.99356757647827743</c:v>
                </c:pt>
                <c:pt idx="116">
                  <c:v>0.99436174262527666</c:v>
                </c:pt>
                <c:pt idx="117">
                  <c:v>0.99515002649097439</c:v>
                </c:pt>
                <c:pt idx="118">
                  <c:v>0.99590607415210275</c:v>
                </c:pt>
                <c:pt idx="119">
                  <c:v>0.99661913089973164</c:v>
                </c:pt>
                <c:pt idx="120">
                  <c:v>0.99724228274825921</c:v>
                </c:pt>
                <c:pt idx="121">
                  <c:v>0.99782340467307273</c:v>
                </c:pt>
                <c:pt idx="122">
                  <c:v>0.99835327303371357</c:v>
                </c:pt>
                <c:pt idx="123">
                  <c:v>0.99886061979596941</c:v>
                </c:pt>
                <c:pt idx="124">
                  <c:v>0.99912796343130872</c:v>
                </c:pt>
                <c:pt idx="125">
                  <c:v>0.99935344932996562</c:v>
                </c:pt>
                <c:pt idx="126">
                  <c:v>0.99955553873396796</c:v>
                </c:pt>
                <c:pt idx="127">
                  <c:v>0.99965310828283471</c:v>
                </c:pt>
                <c:pt idx="128">
                  <c:v>0.99973200251930983</c:v>
                </c:pt>
                <c:pt idx="129">
                  <c:v>0.99979155363693228</c:v>
                </c:pt>
                <c:pt idx="130">
                  <c:v>0.99981760041576506</c:v>
                </c:pt>
                <c:pt idx="131">
                  <c:v>0.99983602908186786</c:v>
                </c:pt>
                <c:pt idx="132">
                  <c:v>0.99985186796193881</c:v>
                </c:pt>
                <c:pt idx="133">
                  <c:v>0.99987324474924777</c:v>
                </c:pt>
                <c:pt idx="134">
                  <c:v>0.999881942521203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8</c:f>
              <c:strCache>
                <c:ptCount val="87"/>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pt idx="83">
                  <c:v>Harry's</c:v>
                </c:pt>
                <c:pt idx="84">
                  <c:v>Dollar Shav</c:v>
                </c:pt>
                <c:pt idx="85">
                  <c:v>Dollar Shav</c:v>
                </c:pt>
                <c:pt idx="86">
                  <c:v>Schick</c:v>
                </c:pt>
              </c:strCache>
            </c:strRef>
          </c:cat>
          <c:val>
            <c:numRef>
              <c:f>Sheet1!$B$2:$B$88</c:f>
              <c:numCache>
                <c:formatCode>General</c:formatCode>
                <c:ptCount val="87"/>
                <c:pt idx="0">
                  <c:v>0.98599999999999999</c:v>
                </c:pt>
                <c:pt idx="1">
                  <c:v>0.98799999999999999</c:v>
                </c:pt>
                <c:pt idx="2">
                  <c:v>0.98499999999999999</c:v>
                </c:pt>
                <c:pt idx="3">
                  <c:v>0.92900000000000005</c:v>
                </c:pt>
                <c:pt idx="4">
                  <c:v>0.92100000000000004</c:v>
                </c:pt>
                <c:pt idx="5">
                  <c:v>0.86099999999999999</c:v>
                </c:pt>
                <c:pt idx="6">
                  <c:v>0.61899999999999999</c:v>
                </c:pt>
                <c:pt idx="7">
                  <c:v>0.94899999999999995</c:v>
                </c:pt>
                <c:pt idx="8">
                  <c:v>0.82599999999999996</c:v>
                </c:pt>
                <c:pt idx="9">
                  <c:v>0.83799999999999997</c:v>
                </c:pt>
                <c:pt idx="10">
                  <c:v>0.78200000000000003</c:v>
                </c:pt>
                <c:pt idx="11">
                  <c:v>0.84899999999999998</c:v>
                </c:pt>
                <c:pt idx="12">
                  <c:v>0.89700000000000002</c:v>
                </c:pt>
                <c:pt idx="13">
                  <c:v>0.92100000000000004</c:v>
                </c:pt>
                <c:pt idx="14">
                  <c:v>0.626</c:v>
                </c:pt>
                <c:pt idx="15">
                  <c:v>0.73499999999999999</c:v>
                </c:pt>
                <c:pt idx="16">
                  <c:v>0.65300000000000002</c:v>
                </c:pt>
                <c:pt idx="17">
                  <c:v>0.94699999999999995</c:v>
                </c:pt>
                <c:pt idx="18">
                  <c:v>0.78500000000000003</c:v>
                </c:pt>
                <c:pt idx="19">
                  <c:v>0.63200000000000001</c:v>
                </c:pt>
                <c:pt idx="20">
                  <c:v>0.73799999999999999</c:v>
                </c:pt>
                <c:pt idx="21">
                  <c:v>0.81799999999999995</c:v>
                </c:pt>
                <c:pt idx="22">
                  <c:v>0.86</c:v>
                </c:pt>
                <c:pt idx="23">
                  <c:v>0.84499999999999997</c:v>
                </c:pt>
                <c:pt idx="24">
                  <c:v>0.89100000000000001</c:v>
                </c:pt>
                <c:pt idx="25">
                  <c:v>0.60599999999999998</c:v>
                </c:pt>
                <c:pt idx="26">
                  <c:v>0.43099999999999999</c:v>
                </c:pt>
                <c:pt idx="27">
                  <c:v>0.85199999999999998</c:v>
                </c:pt>
                <c:pt idx="28">
                  <c:v>0.83399999999999996</c:v>
                </c:pt>
                <c:pt idx="29">
                  <c:v>0.54700000000000004</c:v>
                </c:pt>
                <c:pt idx="30">
                  <c:v>0.59899999999999998</c:v>
                </c:pt>
                <c:pt idx="31">
                  <c:v>0.66600000000000004</c:v>
                </c:pt>
                <c:pt idx="32">
                  <c:v>0.44800000000000001</c:v>
                </c:pt>
                <c:pt idx="33">
                  <c:v>0.89600000000000002</c:v>
                </c:pt>
                <c:pt idx="34">
                  <c:v>0.60699999999999998</c:v>
                </c:pt>
                <c:pt idx="35">
                  <c:v>0.56200000000000006</c:v>
                </c:pt>
                <c:pt idx="36">
                  <c:v>0.875</c:v>
                </c:pt>
                <c:pt idx="37">
                  <c:v>0.61299999999999999</c:v>
                </c:pt>
                <c:pt idx="38">
                  <c:v>0.873</c:v>
                </c:pt>
                <c:pt idx="39">
                  <c:v>0.54500000000000004</c:v>
                </c:pt>
                <c:pt idx="40">
                  <c:v>0.751</c:v>
                </c:pt>
                <c:pt idx="41">
                  <c:v>0.62</c:v>
                </c:pt>
                <c:pt idx="42">
                  <c:v>0.65100000000000002</c:v>
                </c:pt>
                <c:pt idx="43">
                  <c:v>0.58399999999999996</c:v>
                </c:pt>
                <c:pt idx="44">
                  <c:v>0.52600000000000002</c:v>
                </c:pt>
                <c:pt idx="45">
                  <c:v>0.32600000000000001</c:v>
                </c:pt>
                <c:pt idx="46">
                  <c:v>0.77700000000000002</c:v>
                </c:pt>
                <c:pt idx="47">
                  <c:v>0.433</c:v>
                </c:pt>
                <c:pt idx="48">
                  <c:v>0.65400000000000003</c:v>
                </c:pt>
                <c:pt idx="49">
                  <c:v>0.38500000000000001</c:v>
                </c:pt>
                <c:pt idx="50">
                  <c:v>0.46600000000000003</c:v>
                </c:pt>
                <c:pt idx="51">
                  <c:v>0.79300000000000004</c:v>
                </c:pt>
                <c:pt idx="52">
                  <c:v>0.19800000000000001</c:v>
                </c:pt>
                <c:pt idx="53">
                  <c:v>0.23599999999999999</c:v>
                </c:pt>
                <c:pt idx="54">
                  <c:v>0.57299999999999995</c:v>
                </c:pt>
                <c:pt idx="55">
                  <c:v>0.433</c:v>
                </c:pt>
                <c:pt idx="56">
                  <c:v>0.80200000000000005</c:v>
                </c:pt>
                <c:pt idx="57">
                  <c:v>0.52400000000000002</c:v>
                </c:pt>
                <c:pt idx="58">
                  <c:v>0.28699999999999998</c:v>
                </c:pt>
                <c:pt idx="59">
                  <c:v>0.16900000000000001</c:v>
                </c:pt>
                <c:pt idx="60">
                  <c:v>0.7</c:v>
                </c:pt>
                <c:pt idx="61">
                  <c:v>0.73299999999999998</c:v>
                </c:pt>
                <c:pt idx="62">
                  <c:v>0.61199999999999999</c:v>
                </c:pt>
                <c:pt idx="63">
                  <c:v>0.68899999999999995</c:v>
                </c:pt>
                <c:pt idx="64">
                  <c:v>0.35</c:v>
                </c:pt>
                <c:pt idx="65">
                  <c:v>0.42899999999999999</c:v>
                </c:pt>
                <c:pt idx="66">
                  <c:v>0.63</c:v>
                </c:pt>
                <c:pt idx="67">
                  <c:v>0.3</c:v>
                </c:pt>
                <c:pt idx="68">
                  <c:v>0.7</c:v>
                </c:pt>
                <c:pt idx="69">
                  <c:v>0.32300000000000001</c:v>
                </c:pt>
                <c:pt idx="70">
                  <c:v>0.38600000000000001</c:v>
                </c:pt>
                <c:pt idx="71">
                  <c:v>0.16700000000000001</c:v>
                </c:pt>
                <c:pt idx="72">
                  <c:v>0.17499999999999999</c:v>
                </c:pt>
                <c:pt idx="73">
                  <c:v>5.6000000000000001E-2</c:v>
                </c:pt>
                <c:pt idx="74">
                  <c:v>4.5999999999999999E-2</c:v>
                </c:pt>
                <c:pt idx="75">
                  <c:v>0.11700000000000001</c:v>
                </c:pt>
                <c:pt idx="76">
                  <c:v>6.4000000000000001E-2</c:v>
                </c:pt>
                <c:pt idx="77">
                  <c:v>3.5999999999999997E-2</c:v>
                </c:pt>
                <c:pt idx="78">
                  <c:v>1.7999999999999999E-2</c:v>
                </c:pt>
                <c:pt idx="79">
                  <c:v>8.9999999999999993E-3</c:v>
                </c:pt>
                <c:pt idx="80">
                  <c:v>8.9999999999999993E-3</c:v>
                </c:pt>
                <c:pt idx="81">
                  <c:v>0.01</c:v>
                </c:pt>
                <c:pt idx="82">
                  <c:v>0.01</c:v>
                </c:pt>
                <c:pt idx="83">
                  <c:v>1E-3</c:v>
                </c:pt>
                <c:pt idx="84">
                  <c:v>1E-3</c:v>
                </c:pt>
                <c:pt idx="85">
                  <c:v>1E-3</c:v>
                </c:pt>
                <c:pt idx="86">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8</c:f>
              <c:strCache>
                <c:ptCount val="87"/>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Schick</c:v>
                </c:pt>
                <c:pt idx="19">
                  <c:v>Gillette</c:v>
                </c:pt>
                <c:pt idx="20">
                  <c:v>Gillette</c:v>
                </c:pt>
                <c:pt idx="21">
                  <c:v>Bic</c:v>
                </c:pt>
                <c:pt idx="22">
                  <c:v>Dollar Shav</c:v>
                </c:pt>
                <c:pt idx="23">
                  <c:v>Equate</c:v>
                </c:pt>
                <c:pt idx="24">
                  <c:v>Dollar Shav</c:v>
                </c:pt>
                <c:pt idx="25">
                  <c:v>Gillette</c:v>
                </c:pt>
                <c:pt idx="26">
                  <c:v>Gillette</c:v>
                </c:pt>
                <c:pt idx="27">
                  <c:v>Schick</c:v>
                </c:pt>
                <c:pt idx="28">
                  <c:v>Harry's</c:v>
                </c:pt>
                <c:pt idx="29">
                  <c:v>Gillette</c:v>
                </c:pt>
                <c:pt idx="30">
                  <c:v>Bic</c:v>
                </c:pt>
                <c:pt idx="31">
                  <c:v>Gillette</c:v>
                </c:pt>
                <c:pt idx="32">
                  <c:v>Schick</c:v>
                </c:pt>
                <c:pt idx="33">
                  <c:v>Bic</c:v>
                </c:pt>
                <c:pt idx="34">
                  <c:v>Van Der Hag</c:v>
                </c:pt>
                <c:pt idx="35">
                  <c:v>Dollar Shav</c:v>
                </c:pt>
                <c:pt idx="36">
                  <c:v>Comfort 3</c:v>
                </c:pt>
                <c:pt idx="37">
                  <c:v>Gillette</c:v>
                </c:pt>
                <c:pt idx="38">
                  <c:v>Van Der Hag</c:v>
                </c:pt>
                <c:pt idx="39">
                  <c:v>Gillette</c:v>
                </c:pt>
                <c:pt idx="40">
                  <c:v>Equate</c:v>
                </c:pt>
                <c:pt idx="41">
                  <c:v>Comfort 3</c:v>
                </c:pt>
                <c:pt idx="42">
                  <c:v>Gillette</c:v>
                </c:pt>
                <c:pt idx="43">
                  <c:v>Equate</c:v>
                </c:pt>
                <c:pt idx="44">
                  <c:v>Harry's</c:v>
                </c:pt>
                <c:pt idx="45">
                  <c:v>Gillette</c:v>
                </c:pt>
                <c:pt idx="46">
                  <c:v>Gillette</c:v>
                </c:pt>
                <c:pt idx="47">
                  <c:v>Gillette</c:v>
                </c:pt>
                <c:pt idx="48">
                  <c:v>Bic</c:v>
                </c:pt>
                <c:pt idx="49">
                  <c:v>Gillette</c:v>
                </c:pt>
                <c:pt idx="50">
                  <c:v>Gillette</c:v>
                </c:pt>
                <c:pt idx="51">
                  <c:v>Schick</c:v>
                </c:pt>
                <c:pt idx="52">
                  <c:v>Gillette</c:v>
                </c:pt>
                <c:pt idx="53">
                  <c:v>Harry's</c:v>
                </c:pt>
                <c:pt idx="54">
                  <c:v>Gillette</c:v>
                </c:pt>
                <c:pt idx="55">
                  <c:v>Gillette</c:v>
                </c:pt>
                <c:pt idx="56">
                  <c:v>Bic</c:v>
                </c:pt>
                <c:pt idx="57">
                  <c:v>Bic</c:v>
                </c:pt>
                <c:pt idx="58">
                  <c:v>Gillette</c:v>
                </c:pt>
                <c:pt idx="59">
                  <c:v>Gillette</c:v>
                </c:pt>
                <c:pt idx="60">
                  <c:v>Harry's</c:v>
                </c:pt>
                <c:pt idx="61">
                  <c:v>Gillette</c:v>
                </c:pt>
                <c:pt idx="62">
                  <c:v>Gillette</c:v>
                </c:pt>
                <c:pt idx="63">
                  <c:v>Equate</c:v>
                </c:pt>
                <c:pt idx="64">
                  <c:v>Gillette</c:v>
                </c:pt>
                <c:pt idx="65">
                  <c:v>Gillette</c:v>
                </c:pt>
                <c:pt idx="66">
                  <c:v>Dollar Shav</c:v>
                </c:pt>
                <c:pt idx="67">
                  <c:v>Gillette</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pt idx="83">
                  <c:v>Harry's</c:v>
                </c:pt>
                <c:pt idx="84">
                  <c:v>Dollar Shav</c:v>
                </c:pt>
                <c:pt idx="85">
                  <c:v>Dollar Shav</c:v>
                </c:pt>
                <c:pt idx="86">
                  <c:v>Schick</c:v>
                </c:pt>
              </c:strCache>
            </c:strRef>
          </c:cat>
          <c:val>
            <c:numRef>
              <c:f>Sheet1!$C$2:$C$88</c:f>
              <c:numCache>
                <c:formatCode>General</c:formatCode>
                <c:ptCount val="87"/>
                <c:pt idx="0">
                  <c:v>8.2511248256966568E-2</c:v>
                </c:pt>
                <c:pt idx="1">
                  <c:v>0.16089152450644711</c:v>
                </c:pt>
                <c:pt idx="2">
                  <c:v>0.21454090236603462</c:v>
                </c:pt>
                <c:pt idx="3">
                  <c:v>0.2556579646281652</c:v>
                </c:pt>
                <c:pt idx="4">
                  <c:v>0.29593620736965198</c:v>
                </c:pt>
                <c:pt idx="5">
                  <c:v>0.33566438815378236</c:v>
                </c:pt>
                <c:pt idx="6">
                  <c:v>0.37062969751573072</c:v>
                </c:pt>
                <c:pt idx="7">
                  <c:v>0.40357030757243878</c:v>
                </c:pt>
                <c:pt idx="8">
                  <c:v>0.43250144372711291</c:v>
                </c:pt>
                <c:pt idx="9">
                  <c:v>0.45866156412259951</c:v>
                </c:pt>
                <c:pt idx="10">
                  <c:v>0.48200912933668483</c:v>
                </c:pt>
                <c:pt idx="11">
                  <c:v>0.50531722208358543</c:v>
                </c:pt>
                <c:pt idx="12">
                  <c:v>0.52688606474641619</c:v>
                </c:pt>
                <c:pt idx="13">
                  <c:v>0.54639153085300052</c:v>
                </c:pt>
                <c:pt idx="14">
                  <c:v>0.56489851502726984</c:v>
                </c:pt>
                <c:pt idx="15">
                  <c:v>0.58298753114993795</c:v>
                </c:pt>
                <c:pt idx="16">
                  <c:v>0.60098440842705991</c:v>
                </c:pt>
                <c:pt idx="17">
                  <c:v>0.61802645567675352</c:v>
                </c:pt>
                <c:pt idx="18">
                  <c:v>0.63433377781061429</c:v>
                </c:pt>
                <c:pt idx="19">
                  <c:v>0.65000737335367409</c:v>
                </c:pt>
                <c:pt idx="20">
                  <c:v>0.66526226026212665</c:v>
                </c:pt>
                <c:pt idx="21">
                  <c:v>0.68046590428988107</c:v>
                </c:pt>
                <c:pt idx="22">
                  <c:v>0.69446414627937259</c:v>
                </c:pt>
                <c:pt idx="23">
                  <c:v>0.70837072594598993</c:v>
                </c:pt>
                <c:pt idx="24">
                  <c:v>0.72225528540888373</c:v>
                </c:pt>
                <c:pt idx="25">
                  <c:v>0.73611160559190925</c:v>
                </c:pt>
                <c:pt idx="26">
                  <c:v>0.74960504920752191</c:v>
                </c:pt>
                <c:pt idx="27">
                  <c:v>0.7622749827315165</c:v>
                </c:pt>
                <c:pt idx="28">
                  <c:v>0.77477276105837789</c:v>
                </c:pt>
                <c:pt idx="29">
                  <c:v>0.78711618853201271</c:v>
                </c:pt>
                <c:pt idx="30">
                  <c:v>0.79905396166410925</c:v>
                </c:pt>
                <c:pt idx="31">
                  <c:v>0.81078436851934865</c:v>
                </c:pt>
                <c:pt idx="32">
                  <c:v>0.82111755019706523</c:v>
                </c:pt>
                <c:pt idx="33">
                  <c:v>0.83114663149552992</c:v>
                </c:pt>
                <c:pt idx="34">
                  <c:v>0.84112744742120171</c:v>
                </c:pt>
                <c:pt idx="35">
                  <c:v>0.85061046408943664</c:v>
                </c:pt>
                <c:pt idx="36">
                  <c:v>0.85952095546085849</c:v>
                </c:pt>
                <c:pt idx="37">
                  <c:v>0.86840889547271227</c:v>
                </c:pt>
                <c:pt idx="38">
                  <c:v>0.87629024659647625</c:v>
                </c:pt>
                <c:pt idx="39">
                  <c:v>0.88388510439843837</c:v>
                </c:pt>
                <c:pt idx="40">
                  <c:v>0.89109150820269434</c:v>
                </c:pt>
                <c:pt idx="41">
                  <c:v>0.89795681282916073</c:v>
                </c:pt>
                <c:pt idx="42">
                  <c:v>0.90480707208693545</c:v>
                </c:pt>
                <c:pt idx="43">
                  <c:v>0.91163777570410498</c:v>
                </c:pt>
                <c:pt idx="44">
                  <c:v>0.91753509584925752</c:v>
                </c:pt>
                <c:pt idx="45">
                  <c:v>0.92335371690931722</c:v>
                </c:pt>
                <c:pt idx="46">
                  <c:v>0.92878184736840419</c:v>
                </c:pt>
                <c:pt idx="47">
                  <c:v>0.93372534819982089</c:v>
                </c:pt>
                <c:pt idx="48">
                  <c:v>0.93852841142595989</c:v>
                </c:pt>
                <c:pt idx="49">
                  <c:v>0.94292830611991274</c:v>
                </c:pt>
                <c:pt idx="50">
                  <c:v>0.94720457808503555</c:v>
                </c:pt>
                <c:pt idx="51">
                  <c:v>0.95133991164079879</c:v>
                </c:pt>
                <c:pt idx="52">
                  <c:v>0.95508370138942911</c:v>
                </c:pt>
                <c:pt idx="53">
                  <c:v>0.95847811503462488</c:v>
                </c:pt>
                <c:pt idx="54">
                  <c:v>0.96181321526546282</c:v>
                </c:pt>
                <c:pt idx="55">
                  <c:v>0.96509808332929514</c:v>
                </c:pt>
                <c:pt idx="56">
                  <c:v>0.96831202235924518</c:v>
                </c:pt>
                <c:pt idx="57">
                  <c:v>0.97150857893478793</c:v>
                </c:pt>
                <c:pt idx="58">
                  <c:v>0.97462490669640567</c:v>
                </c:pt>
                <c:pt idx="59">
                  <c:v>0.97755458022392439</c:v>
                </c:pt>
                <c:pt idx="60">
                  <c:v>0.98047841407233016</c:v>
                </c:pt>
                <c:pt idx="61">
                  <c:v>0.98323112771870536</c:v>
                </c:pt>
                <c:pt idx="62">
                  <c:v>0.98538770543218679</c:v>
                </c:pt>
                <c:pt idx="63">
                  <c:v>0.98752775964614081</c:v>
                </c:pt>
                <c:pt idx="64">
                  <c:v>0.98936412322963718</c:v>
                </c:pt>
                <c:pt idx="65">
                  <c:v>0.99114520411284113</c:v>
                </c:pt>
                <c:pt idx="66">
                  <c:v>0.99248375022784319</c:v>
                </c:pt>
                <c:pt idx="67">
                  <c:v>0.99376952676849117</c:v>
                </c:pt>
                <c:pt idx="68">
                  <c:v>0.99493357453029185</c:v>
                </c:pt>
                <c:pt idx="69">
                  <c:v>0.99598079228771919</c:v>
                </c:pt>
                <c:pt idx="70">
                  <c:v>0.99697148292258997</c:v>
                </c:pt>
                <c:pt idx="71">
                  <c:v>0.99783000377229925</c:v>
                </c:pt>
                <c:pt idx="72">
                  <c:v>0.99855689206304388</c:v>
                </c:pt>
                <c:pt idx="73">
                  <c:v>0.99892091592708077</c:v>
                </c:pt>
                <c:pt idx="74">
                  <c:v>0.99922789061824535</c:v>
                </c:pt>
                <c:pt idx="75">
                  <c:v>0.99949867083257971</c:v>
                </c:pt>
                <c:pt idx="76">
                  <c:v>0.99962979651710981</c:v>
                </c:pt>
                <c:pt idx="77">
                  <c:v>0.99973616123375886</c:v>
                </c:pt>
                <c:pt idx="78">
                  <c:v>0.99977167279593193</c:v>
                </c:pt>
                <c:pt idx="79">
                  <c:v>0.99979671603520459</c:v>
                </c:pt>
                <c:pt idx="80">
                  <c:v>0.99981800476145088</c:v>
                </c:pt>
                <c:pt idx="81">
                  <c:v>0.99983513529622914</c:v>
                </c:pt>
                <c:pt idx="82">
                  <c:v>0.99986467059635786</c:v>
                </c:pt>
                <c:pt idx="83">
                  <c:v>0.99988957421752289</c:v>
                </c:pt>
                <c:pt idx="84">
                  <c:v>0.99991403773813092</c:v>
                </c:pt>
                <c:pt idx="85">
                  <c:v>0.99994256232456702</c:v>
                </c:pt>
                <c:pt idx="86">
                  <c:v>0.999946359330060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1</c:f>
              <c:strCache>
                <c:ptCount val="10"/>
                <c:pt idx="0">
                  <c:v>Gillette</c:v>
                </c:pt>
                <c:pt idx="1">
                  <c:v>Gillette</c:v>
                </c:pt>
                <c:pt idx="2">
                  <c:v>Gillette</c:v>
                </c:pt>
                <c:pt idx="3">
                  <c:v>Harry's</c:v>
                </c:pt>
                <c:pt idx="4">
                  <c:v>Gillette</c:v>
                </c:pt>
                <c:pt idx="5">
                  <c:v>Gillette</c:v>
                </c:pt>
                <c:pt idx="6">
                  <c:v>Gillette</c:v>
                </c:pt>
                <c:pt idx="7">
                  <c:v>Gillette</c:v>
                </c:pt>
                <c:pt idx="8">
                  <c:v>Pbg Pl</c:v>
                </c:pt>
                <c:pt idx="9">
                  <c:v>Dollar Shav</c:v>
                </c:pt>
              </c:strCache>
            </c:strRef>
          </c:cat>
          <c:val>
            <c:numRef>
              <c:f>Sheet1!$B$2:$B$11</c:f>
              <c:numCache>
                <c:formatCode>General</c:formatCode>
                <c:ptCount val="10"/>
                <c:pt idx="0">
                  <c:v>1</c:v>
                </c:pt>
                <c:pt idx="1">
                  <c:v>1</c:v>
                </c:pt>
                <c:pt idx="2">
                  <c:v>0.98</c:v>
                </c:pt>
                <c:pt idx="3">
                  <c:v>0.99</c:v>
                </c:pt>
                <c:pt idx="4">
                  <c:v>0.97</c:v>
                </c:pt>
                <c:pt idx="5">
                  <c:v>0.77</c:v>
                </c:pt>
                <c:pt idx="6">
                  <c:v>0.88</c:v>
                </c:pt>
                <c:pt idx="7">
                  <c:v>0.77</c:v>
                </c:pt>
                <c:pt idx="8">
                  <c:v>0.6</c:v>
                </c:pt>
                <c:pt idx="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AEABAB"/>
              </a:solidFill>
            </c:spPr>
            <c:extLst>
              <c:ext xmlns:c16="http://schemas.microsoft.com/office/drawing/2014/chart" uri="{C3380CC4-5D6E-409C-BE32-E72D297353CC}">
                <c16:uniqueId val="{00000049-2993-41DE-A2CB-63102DE87051}"/>
              </c:ext>
            </c:extLst>
          </c:dPt>
          <c:dPt>
            <c:idx val="9"/>
            <c:invertIfNegative val="1"/>
            <c:bubble3D val="0"/>
            <c:spPr>
              <a:solidFill>
                <a:srgbClr val="AEABAB"/>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1</c:f>
              <c:strCache>
                <c:ptCount val="10"/>
                <c:pt idx="0">
                  <c:v>Gillette</c:v>
                </c:pt>
                <c:pt idx="1">
                  <c:v>Gillette</c:v>
                </c:pt>
                <c:pt idx="2">
                  <c:v>Gillette</c:v>
                </c:pt>
                <c:pt idx="3">
                  <c:v>Harry's</c:v>
                </c:pt>
                <c:pt idx="4">
                  <c:v>Gillette</c:v>
                </c:pt>
                <c:pt idx="5">
                  <c:v>Gillette</c:v>
                </c:pt>
                <c:pt idx="6">
                  <c:v>Gillette</c:v>
                </c:pt>
                <c:pt idx="7">
                  <c:v>Gillette</c:v>
                </c:pt>
                <c:pt idx="8">
                  <c:v>Pbg Pl</c:v>
                </c:pt>
                <c:pt idx="9">
                  <c:v>Dollar Shav</c:v>
                </c:pt>
              </c:strCache>
            </c:strRef>
          </c:cat>
          <c:val>
            <c:numRef>
              <c:f>Sheet1!$C$2:$C$11</c:f>
              <c:numCache>
                <c:formatCode>General</c:formatCode>
                <c:ptCount val="10"/>
                <c:pt idx="0">
                  <c:v>0.46667755944280054</c:v>
                </c:pt>
                <c:pt idx="1">
                  <c:v>0.68424113397590136</c:v>
                </c:pt>
                <c:pt idx="2">
                  <c:v>0.80846929358877562</c:v>
                </c:pt>
                <c:pt idx="3">
                  <c:v>0.89775799956796209</c:v>
                </c:pt>
                <c:pt idx="4">
                  <c:v>0.95093005634433181</c:v>
                </c:pt>
                <c:pt idx="5">
                  <c:v>0.96990592176356849</c:v>
                </c:pt>
                <c:pt idx="6">
                  <c:v>0.9862233562423961</c:v>
                </c:pt>
                <c:pt idx="7">
                  <c:v>0.99857672524626551</c:v>
                </c:pt>
                <c:pt idx="8">
                  <c:v>0.99998624812724402</c:v>
                </c:pt>
                <c:pt idx="9">
                  <c:v>0.99999828101590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c:f>
              <c:strCache>
                <c:ptCount val="8"/>
                <c:pt idx="0">
                  <c:v>Gillette</c:v>
                </c:pt>
                <c:pt idx="1">
                  <c:v>Gillette</c:v>
                </c:pt>
                <c:pt idx="2">
                  <c:v>Gillette</c:v>
                </c:pt>
                <c:pt idx="3">
                  <c:v>Gillette</c:v>
                </c:pt>
                <c:pt idx="4">
                  <c:v>Gillette</c:v>
                </c:pt>
                <c:pt idx="5">
                  <c:v>Gillette</c:v>
                </c:pt>
                <c:pt idx="6">
                  <c:v>Gillette</c:v>
                </c:pt>
                <c:pt idx="7">
                  <c:v>Gillette</c:v>
                </c:pt>
              </c:strCache>
            </c:strRef>
          </c:cat>
          <c:val>
            <c:numRef>
              <c:f>Sheet1!$B$2:$B$9</c:f>
              <c:numCache>
                <c:formatCode>General</c:formatCode>
                <c:ptCount val="8"/>
                <c:pt idx="0">
                  <c:v>0.94</c:v>
                </c:pt>
                <c:pt idx="1">
                  <c:v>0.94</c:v>
                </c:pt>
                <c:pt idx="2">
                  <c:v>0.91</c:v>
                </c:pt>
                <c:pt idx="3">
                  <c:v>0.8</c:v>
                </c:pt>
                <c:pt idx="4">
                  <c:v>0.63</c:v>
                </c:pt>
                <c:pt idx="5">
                  <c:v>0.27</c:v>
                </c:pt>
                <c:pt idx="6">
                  <c:v>0.66</c:v>
                </c:pt>
                <c:pt idx="7">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7ECAC4"/>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AEABAB"/>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c:f>
              <c:strCache>
                <c:ptCount val="8"/>
                <c:pt idx="0">
                  <c:v>Gillette</c:v>
                </c:pt>
                <c:pt idx="1">
                  <c:v>Gillette</c:v>
                </c:pt>
                <c:pt idx="2">
                  <c:v>Gillette</c:v>
                </c:pt>
                <c:pt idx="3">
                  <c:v>Gillette</c:v>
                </c:pt>
                <c:pt idx="4">
                  <c:v>Gillette</c:v>
                </c:pt>
                <c:pt idx="5">
                  <c:v>Gillette</c:v>
                </c:pt>
                <c:pt idx="6">
                  <c:v>Gillette</c:v>
                </c:pt>
                <c:pt idx="7">
                  <c:v>Gillette</c:v>
                </c:pt>
              </c:strCache>
            </c:strRef>
          </c:cat>
          <c:val>
            <c:numRef>
              <c:f>Sheet1!$C$2:$C$9</c:f>
              <c:numCache>
                <c:formatCode>General</c:formatCode>
                <c:ptCount val="8"/>
                <c:pt idx="0">
                  <c:v>0.51970930551469863</c:v>
                </c:pt>
                <c:pt idx="1">
                  <c:v>0.73105241901295903</c:v>
                </c:pt>
                <c:pt idx="2">
                  <c:v>0.83574847117417128</c:v>
                </c:pt>
                <c:pt idx="3">
                  <c:v>0.92038732524270495</c:v>
                </c:pt>
                <c:pt idx="4">
                  <c:v>0.98136538314318311</c:v>
                </c:pt>
                <c:pt idx="5">
                  <c:v>0.99092750874745272</c:v>
                </c:pt>
                <c:pt idx="6">
                  <c:v>0.99734671013683796</c:v>
                </c:pt>
                <c:pt idx="7">
                  <c:v>0.999923894523047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B$2:$B$11</c:f>
              <c:numCache>
                <c:formatCode>General</c:formatCode>
                <c:ptCount val="10"/>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pt idx="8">
                  <c:v>4.0335974829016231E-4</c:v>
                </c:pt>
                <c:pt idx="9">
                  <c:v>8.4438603389384969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C$2:$C$11</c:f>
              <c:numCache>
                <c:formatCode>General</c:formatCode>
                <c:ptCount val="10"/>
                <c:pt idx="0">
                  <c:v>0.49405942618760357</c:v>
                </c:pt>
                <c:pt idx="1">
                  <c:v>0.13840207766712337</c:v>
                </c:pt>
                <c:pt idx="2">
                  <c:v>0.12257418048710662</c:v>
                </c:pt>
                <c:pt idx="3">
                  <c:v>6.1164393366188827E-2</c:v>
                </c:pt>
                <c:pt idx="4">
                  <c:v>6.0223717306394552E-2</c:v>
                </c:pt>
                <c:pt idx="5">
                  <c:v>5.8669556859777927E-2</c:v>
                </c:pt>
                <c:pt idx="6">
                  <c:v>3.0265229749902867E-2</c:v>
                </c:pt>
                <c:pt idx="7">
                  <c:v>3.0940062575407455E-2</c:v>
                </c:pt>
                <c:pt idx="8">
                  <c:v>3.7013558004948778E-3</c:v>
                </c:pt>
                <c:pt idx="9">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illette</c:v>
                </c:pt>
                <c:pt idx="1">
                  <c:v>Harry's</c:v>
                </c:pt>
                <c:pt idx="2">
                  <c:v>Bic</c:v>
                </c:pt>
                <c:pt idx="3">
                  <c:v>Schick</c:v>
                </c:pt>
                <c:pt idx="4">
                  <c:v>Dollar Shave Club</c:v>
                </c:pt>
                <c:pt idx="5">
                  <c:v>Equate</c:v>
                </c:pt>
                <c:pt idx="6">
                  <c:v>Van Der Hagen</c:v>
                </c:pt>
                <c:pt idx="7">
                  <c:v>Comfort 3</c:v>
                </c:pt>
                <c:pt idx="8">
                  <c:v>Cremo</c:v>
                </c:pt>
                <c:pt idx="9">
                  <c:v>Others</c:v>
                </c:pt>
              </c:strCache>
            </c:strRef>
          </c:cat>
          <c:val>
            <c:numRef>
              <c:f>Sheet1!$D$2:$D$11</c:f>
              <c:numCache>
                <c:formatCode>General</c:formatCode>
                <c:ptCount val="10"/>
                <c:pt idx="0">
                  <c:v>0.85680741036046093</c:v>
                </c:pt>
                <c:pt idx="1">
                  <c:v>0.66042717898672021</c:v>
                </c:pt>
                <c:pt idx="2">
                  <c:v>1.8364722179413804</c:v>
                </c:pt>
                <c:pt idx="3">
                  <c:v>1.3852861651114534</c:v>
                </c:pt>
                <c:pt idx="4">
                  <c:v>1.5548482524877438</c:v>
                </c:pt>
                <c:pt idx="5">
                  <c:v>1.9499419521000017</c:v>
                </c:pt>
                <c:pt idx="6">
                  <c:v>1.6941156249905365</c:v>
                </c:pt>
                <c:pt idx="7">
                  <c:v>1.9566833760959996</c:v>
                </c:pt>
                <c:pt idx="8">
                  <c:v>9.1763142360755765</c:v>
                </c:pt>
                <c:pt idx="9">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7</c:f>
              <c:strCache>
                <c:ptCount val="86"/>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Bic</c:v>
                </c:pt>
                <c:pt idx="82">
                  <c:v>Harry's</c:v>
                </c:pt>
                <c:pt idx="83">
                  <c:v>Schick</c:v>
                </c:pt>
                <c:pt idx="84">
                  <c:v>Dollar Shav</c:v>
                </c:pt>
                <c:pt idx="85">
                  <c:v>Dollar Shav</c:v>
                </c:pt>
              </c:strCache>
            </c:strRef>
          </c:cat>
          <c:val>
            <c:numRef>
              <c:f>Sheet1!$B$2:$B$87</c:f>
              <c:numCache>
                <c:formatCode>General</c:formatCode>
                <c:ptCount val="86"/>
                <c:pt idx="0">
                  <c:v>0.99</c:v>
                </c:pt>
                <c:pt idx="1">
                  <c:v>0.99</c:v>
                </c:pt>
                <c:pt idx="2">
                  <c:v>0.99</c:v>
                </c:pt>
                <c:pt idx="3">
                  <c:v>0.88</c:v>
                </c:pt>
                <c:pt idx="4">
                  <c:v>0.93</c:v>
                </c:pt>
                <c:pt idx="5">
                  <c:v>0.9</c:v>
                </c:pt>
                <c:pt idx="6">
                  <c:v>0.87</c:v>
                </c:pt>
                <c:pt idx="7">
                  <c:v>0.52</c:v>
                </c:pt>
                <c:pt idx="8">
                  <c:v>0.95</c:v>
                </c:pt>
                <c:pt idx="9">
                  <c:v>0.79</c:v>
                </c:pt>
                <c:pt idx="10">
                  <c:v>0.9</c:v>
                </c:pt>
                <c:pt idx="11">
                  <c:v>0.74</c:v>
                </c:pt>
                <c:pt idx="12">
                  <c:v>0.76</c:v>
                </c:pt>
                <c:pt idx="13">
                  <c:v>0.75</c:v>
                </c:pt>
                <c:pt idx="14">
                  <c:v>0.68</c:v>
                </c:pt>
                <c:pt idx="15">
                  <c:v>0.88</c:v>
                </c:pt>
                <c:pt idx="16">
                  <c:v>0.73</c:v>
                </c:pt>
                <c:pt idx="17">
                  <c:v>0.67</c:v>
                </c:pt>
                <c:pt idx="18">
                  <c:v>0.79</c:v>
                </c:pt>
                <c:pt idx="19">
                  <c:v>0.54</c:v>
                </c:pt>
                <c:pt idx="20">
                  <c:v>0.53</c:v>
                </c:pt>
                <c:pt idx="21">
                  <c:v>0.92</c:v>
                </c:pt>
                <c:pt idx="22">
                  <c:v>0.8</c:v>
                </c:pt>
                <c:pt idx="23">
                  <c:v>0.69</c:v>
                </c:pt>
                <c:pt idx="24">
                  <c:v>0.8</c:v>
                </c:pt>
                <c:pt idx="25">
                  <c:v>0.83</c:v>
                </c:pt>
                <c:pt idx="26">
                  <c:v>0.83</c:v>
                </c:pt>
                <c:pt idx="27">
                  <c:v>0.59</c:v>
                </c:pt>
                <c:pt idx="28">
                  <c:v>0.84</c:v>
                </c:pt>
                <c:pt idx="29">
                  <c:v>0.32</c:v>
                </c:pt>
                <c:pt idx="30">
                  <c:v>0.54</c:v>
                </c:pt>
                <c:pt idx="31">
                  <c:v>0.83</c:v>
                </c:pt>
                <c:pt idx="32">
                  <c:v>0.89</c:v>
                </c:pt>
                <c:pt idx="33">
                  <c:v>0.84</c:v>
                </c:pt>
                <c:pt idx="34">
                  <c:v>0.54</c:v>
                </c:pt>
                <c:pt idx="35">
                  <c:v>0.8</c:v>
                </c:pt>
                <c:pt idx="36">
                  <c:v>0.47</c:v>
                </c:pt>
                <c:pt idx="37">
                  <c:v>0.65</c:v>
                </c:pt>
                <c:pt idx="38">
                  <c:v>0.31</c:v>
                </c:pt>
                <c:pt idx="39">
                  <c:v>0.52</c:v>
                </c:pt>
                <c:pt idx="40">
                  <c:v>0.6</c:v>
                </c:pt>
                <c:pt idx="41">
                  <c:v>0.44</c:v>
                </c:pt>
                <c:pt idx="42">
                  <c:v>0.7</c:v>
                </c:pt>
                <c:pt idx="43">
                  <c:v>0.54</c:v>
                </c:pt>
                <c:pt idx="44">
                  <c:v>0.31</c:v>
                </c:pt>
                <c:pt idx="45">
                  <c:v>0.33</c:v>
                </c:pt>
                <c:pt idx="46">
                  <c:v>0.4</c:v>
                </c:pt>
                <c:pt idx="47">
                  <c:v>0.43</c:v>
                </c:pt>
                <c:pt idx="48">
                  <c:v>0.23</c:v>
                </c:pt>
                <c:pt idx="49">
                  <c:v>0.77</c:v>
                </c:pt>
                <c:pt idx="50">
                  <c:v>0.31</c:v>
                </c:pt>
                <c:pt idx="51">
                  <c:v>0.54</c:v>
                </c:pt>
                <c:pt idx="52">
                  <c:v>0.17</c:v>
                </c:pt>
                <c:pt idx="53">
                  <c:v>0.34</c:v>
                </c:pt>
                <c:pt idx="54">
                  <c:v>0.24</c:v>
                </c:pt>
                <c:pt idx="55">
                  <c:v>0.67</c:v>
                </c:pt>
                <c:pt idx="56">
                  <c:v>0.56999999999999995</c:v>
                </c:pt>
                <c:pt idx="57">
                  <c:v>0.59</c:v>
                </c:pt>
                <c:pt idx="58">
                  <c:v>0.14000000000000001</c:v>
                </c:pt>
                <c:pt idx="59">
                  <c:v>0.28000000000000003</c:v>
                </c:pt>
                <c:pt idx="60">
                  <c:v>0.4</c:v>
                </c:pt>
                <c:pt idx="61">
                  <c:v>0.62</c:v>
                </c:pt>
                <c:pt idx="62">
                  <c:v>0.61</c:v>
                </c:pt>
                <c:pt idx="63">
                  <c:v>0.19</c:v>
                </c:pt>
                <c:pt idx="64">
                  <c:v>0.28999999999999998</c:v>
                </c:pt>
                <c:pt idx="65">
                  <c:v>0.26</c:v>
                </c:pt>
                <c:pt idx="66">
                  <c:v>0.15</c:v>
                </c:pt>
                <c:pt idx="67">
                  <c:v>0.14000000000000001</c:v>
                </c:pt>
                <c:pt idx="68">
                  <c:v>0.05</c:v>
                </c:pt>
                <c:pt idx="69">
                  <c:v>0.05</c:v>
                </c:pt>
                <c:pt idx="70">
                  <c:v>0.04</c:v>
                </c:pt>
                <c:pt idx="71">
                  <c:v>0.04</c:v>
                </c:pt>
                <c:pt idx="72">
                  <c:v>0.05</c:v>
                </c:pt>
                <c:pt idx="73">
                  <c:v>0.03</c:v>
                </c:pt>
                <c:pt idx="74">
                  <c:v>0.05</c:v>
                </c:pt>
                <c:pt idx="75">
                  <c:v>0.04</c:v>
                </c:pt>
                <c:pt idx="76">
                  <c:v>0.04</c:v>
                </c:pt>
                <c:pt idx="77">
                  <c:v>0.02</c:v>
                </c:pt>
                <c:pt idx="78">
                  <c:v>0.01</c:v>
                </c:pt>
                <c:pt idx="79">
                  <c:v>0.01</c:v>
                </c:pt>
                <c:pt idx="80">
                  <c:v>0.01</c:v>
                </c:pt>
                <c:pt idx="81">
                  <c:v>0.01</c:v>
                </c:pt>
                <c:pt idx="82">
                  <c:v>0.01</c:v>
                </c:pt>
                <c:pt idx="83">
                  <c:v>0.01</c:v>
                </c:pt>
                <c:pt idx="84">
                  <c:v>0.01</c:v>
                </c:pt>
                <c:pt idx="8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7</c:f>
              <c:strCache>
                <c:ptCount val="86"/>
                <c:pt idx="0">
                  <c:v>Gillette</c:v>
                </c:pt>
                <c:pt idx="1">
                  <c:v>Harry's</c:v>
                </c:pt>
                <c:pt idx="2">
                  <c:v>Gillette</c:v>
                </c:pt>
                <c:pt idx="3">
                  <c:v>Gillette</c:v>
                </c:pt>
                <c:pt idx="4">
                  <c:v>Gillette</c:v>
                </c:pt>
                <c:pt idx="5">
                  <c:v>Harry's</c:v>
                </c:pt>
                <c:pt idx="6">
                  <c:v>Gillette</c:v>
                </c:pt>
                <c:pt idx="7">
                  <c:v>Gillette</c:v>
                </c:pt>
                <c:pt idx="8">
                  <c:v>Gillette</c:v>
                </c:pt>
                <c:pt idx="9">
                  <c:v>Gillette</c:v>
                </c:pt>
                <c:pt idx="10">
                  <c:v>Gillette</c:v>
                </c:pt>
                <c:pt idx="11">
                  <c:v>Harry's</c:v>
                </c:pt>
                <c:pt idx="12">
                  <c:v>Gillette</c:v>
                </c:pt>
                <c:pt idx="13">
                  <c:v>Harry's</c:v>
                </c:pt>
                <c:pt idx="14">
                  <c:v>Gillette</c:v>
                </c:pt>
                <c:pt idx="15">
                  <c:v>Harry's</c:v>
                </c:pt>
                <c:pt idx="16">
                  <c:v>Gillette</c:v>
                </c:pt>
                <c:pt idx="17">
                  <c:v>Gillette</c:v>
                </c:pt>
                <c:pt idx="18">
                  <c:v>Schick</c:v>
                </c:pt>
                <c:pt idx="19">
                  <c:v>Gillette</c:v>
                </c:pt>
                <c:pt idx="20">
                  <c:v>Gillette</c:v>
                </c:pt>
                <c:pt idx="21">
                  <c:v>Bic</c:v>
                </c:pt>
                <c:pt idx="22">
                  <c:v>Bic</c:v>
                </c:pt>
                <c:pt idx="23">
                  <c:v>Gillette</c:v>
                </c:pt>
                <c:pt idx="24">
                  <c:v>Harry's</c:v>
                </c:pt>
                <c:pt idx="25">
                  <c:v>Schick</c:v>
                </c:pt>
                <c:pt idx="26">
                  <c:v>Equate</c:v>
                </c:pt>
                <c:pt idx="27">
                  <c:v>Bic</c:v>
                </c:pt>
                <c:pt idx="28">
                  <c:v>Dollar Shav</c:v>
                </c:pt>
                <c:pt idx="29">
                  <c:v>Gillette</c:v>
                </c:pt>
                <c:pt idx="30">
                  <c:v>Gillette</c:v>
                </c:pt>
                <c:pt idx="31">
                  <c:v>Dollar Shav</c:v>
                </c:pt>
                <c:pt idx="32">
                  <c:v>Bic</c:v>
                </c:pt>
                <c:pt idx="33">
                  <c:v>Comfort 3</c:v>
                </c:pt>
                <c:pt idx="34">
                  <c:v>Van Der Hag</c:v>
                </c:pt>
                <c:pt idx="35">
                  <c:v>Van Der Hag</c:v>
                </c:pt>
                <c:pt idx="36">
                  <c:v>Dollar Shav</c:v>
                </c:pt>
                <c:pt idx="37">
                  <c:v>Comfort 3</c:v>
                </c:pt>
                <c:pt idx="38">
                  <c:v>Schick</c:v>
                </c:pt>
                <c:pt idx="39">
                  <c:v>Gillette</c:v>
                </c:pt>
                <c:pt idx="40">
                  <c:v>Gillette</c:v>
                </c:pt>
                <c:pt idx="41">
                  <c:v>Gillette</c:v>
                </c:pt>
                <c:pt idx="42">
                  <c:v>Equate</c:v>
                </c:pt>
                <c:pt idx="43">
                  <c:v>Equate</c:v>
                </c:pt>
                <c:pt idx="44">
                  <c:v>Gillette</c:v>
                </c:pt>
                <c:pt idx="45">
                  <c:v>Gillette</c:v>
                </c:pt>
                <c:pt idx="46">
                  <c:v>Gillette</c:v>
                </c:pt>
                <c:pt idx="47">
                  <c:v>Gillette</c:v>
                </c:pt>
                <c:pt idx="48">
                  <c:v>Gillette</c:v>
                </c:pt>
                <c:pt idx="49">
                  <c:v>Bic</c:v>
                </c:pt>
                <c:pt idx="50">
                  <c:v>Harry's</c:v>
                </c:pt>
                <c:pt idx="51">
                  <c:v>Gillette</c:v>
                </c:pt>
                <c:pt idx="52">
                  <c:v>Gillette</c:v>
                </c:pt>
                <c:pt idx="53">
                  <c:v>Gillette</c:v>
                </c:pt>
                <c:pt idx="54">
                  <c:v>Gillette</c:v>
                </c:pt>
                <c:pt idx="55">
                  <c:v>Equate</c:v>
                </c:pt>
                <c:pt idx="56">
                  <c:v>Harry's</c:v>
                </c:pt>
                <c:pt idx="57">
                  <c:v>Gillette</c:v>
                </c:pt>
                <c:pt idx="58">
                  <c:v>Harry's</c:v>
                </c:pt>
                <c:pt idx="59">
                  <c:v>Gillette</c:v>
                </c:pt>
                <c:pt idx="60">
                  <c:v>Gillette</c:v>
                </c:pt>
                <c:pt idx="61">
                  <c:v>Dollar Shav</c:v>
                </c:pt>
                <c:pt idx="62">
                  <c:v>Bic</c:v>
                </c:pt>
                <c:pt idx="63">
                  <c:v>Gillette</c:v>
                </c:pt>
                <c:pt idx="64">
                  <c:v>Gillette</c:v>
                </c:pt>
                <c:pt idx="65">
                  <c:v>Gillette</c:v>
                </c:pt>
                <c:pt idx="66">
                  <c:v>Gillette</c:v>
                </c:pt>
                <c:pt idx="67">
                  <c:v>Gillette</c:v>
                </c:pt>
                <c:pt idx="68">
                  <c:v>Gillette</c:v>
                </c:pt>
                <c:pt idx="69">
                  <c:v>Schick</c:v>
                </c:pt>
                <c:pt idx="70">
                  <c:v>Schick</c:v>
                </c:pt>
                <c:pt idx="71">
                  <c:v>Schick</c:v>
                </c:pt>
                <c:pt idx="72">
                  <c:v>Gillette</c:v>
                </c:pt>
                <c:pt idx="73">
                  <c:v>Bic</c:v>
                </c:pt>
                <c:pt idx="74">
                  <c:v>Cremo</c:v>
                </c:pt>
                <c:pt idx="75">
                  <c:v>Bic</c:v>
                </c:pt>
                <c:pt idx="76">
                  <c:v>Cremo</c:v>
                </c:pt>
                <c:pt idx="77">
                  <c:v>Bic</c:v>
                </c:pt>
                <c:pt idx="78">
                  <c:v>Harry's</c:v>
                </c:pt>
                <c:pt idx="79">
                  <c:v>Comfort 3</c:v>
                </c:pt>
                <c:pt idx="80">
                  <c:v>Schick</c:v>
                </c:pt>
                <c:pt idx="81">
                  <c:v>Bic</c:v>
                </c:pt>
                <c:pt idx="82">
                  <c:v>Harry's</c:v>
                </c:pt>
                <c:pt idx="83">
                  <c:v>Schick</c:v>
                </c:pt>
                <c:pt idx="84">
                  <c:v>Dollar Shav</c:v>
                </c:pt>
                <c:pt idx="85">
                  <c:v>Dollar Shav</c:v>
                </c:pt>
              </c:strCache>
            </c:strRef>
          </c:cat>
          <c:val>
            <c:numRef>
              <c:f>Sheet1!$C$2:$C$87</c:f>
              <c:numCache>
                <c:formatCode>General</c:formatCode>
                <c:ptCount val="86"/>
                <c:pt idx="0">
                  <c:v>8.646662988475308E-2</c:v>
                </c:pt>
                <c:pt idx="1">
                  <c:v>0.15268420210872241</c:v>
                </c:pt>
                <c:pt idx="2">
                  <c:v>0.2057540141463296</c:v>
                </c:pt>
                <c:pt idx="3">
                  <c:v>0.25606316648951677</c:v>
                </c:pt>
                <c:pt idx="4">
                  <c:v>0.30479130921559483</c:v>
                </c:pt>
                <c:pt idx="5">
                  <c:v>0.34455844378652534</c:v>
                </c:pt>
                <c:pt idx="6">
                  <c:v>0.3822268336891258</c:v>
                </c:pt>
                <c:pt idx="7">
                  <c:v>0.41957244799920634</c:v>
                </c:pt>
                <c:pt idx="8">
                  <c:v>0.45644876235206261</c:v>
                </c:pt>
                <c:pt idx="9">
                  <c:v>0.48444818525706074</c:v>
                </c:pt>
                <c:pt idx="10">
                  <c:v>0.5080472353290546</c:v>
                </c:pt>
                <c:pt idx="11">
                  <c:v>0.52923104810495702</c:v>
                </c:pt>
                <c:pt idx="12">
                  <c:v>0.55020236538619061</c:v>
                </c:pt>
                <c:pt idx="13">
                  <c:v>0.57024436653672339</c:v>
                </c:pt>
                <c:pt idx="14">
                  <c:v>0.58925914983703442</c:v>
                </c:pt>
                <c:pt idx="15">
                  <c:v>0.60804118211449987</c:v>
                </c:pt>
                <c:pt idx="16">
                  <c:v>0.62545455960613494</c:v>
                </c:pt>
                <c:pt idx="17">
                  <c:v>0.6424564497938835</c:v>
                </c:pt>
                <c:pt idx="18">
                  <c:v>0.65934740345462717</c:v>
                </c:pt>
                <c:pt idx="19">
                  <c:v>0.67611851190699179</c:v>
                </c:pt>
                <c:pt idx="20">
                  <c:v>0.69288282162883419</c:v>
                </c:pt>
                <c:pt idx="21">
                  <c:v>0.70868593151821602</c:v>
                </c:pt>
                <c:pt idx="22">
                  <c:v>0.7238746706073671</c:v>
                </c:pt>
                <c:pt idx="23">
                  <c:v>0.73854717505479184</c:v>
                </c:pt>
                <c:pt idx="24">
                  <c:v>0.75207036582937403</c:v>
                </c:pt>
                <c:pt idx="25">
                  <c:v>0.76543849866025149</c:v>
                </c:pt>
                <c:pt idx="26">
                  <c:v>0.77875355450525841</c:v>
                </c:pt>
                <c:pt idx="27">
                  <c:v>0.79157811710893022</c:v>
                </c:pt>
                <c:pt idx="28">
                  <c:v>0.80428480379168477</c:v>
                </c:pt>
                <c:pt idx="29">
                  <c:v>0.81678729411978723</c:v>
                </c:pt>
                <c:pt idx="30">
                  <c:v>0.82899940832289321</c:v>
                </c:pt>
                <c:pt idx="31">
                  <c:v>0.84041424243082075</c:v>
                </c:pt>
                <c:pt idx="32">
                  <c:v>0.85049966683876033</c:v>
                </c:pt>
                <c:pt idx="33">
                  <c:v>0.85992589571281886</c:v>
                </c:pt>
                <c:pt idx="34">
                  <c:v>0.86833958261702437</c:v>
                </c:pt>
                <c:pt idx="35">
                  <c:v>0.87661255924331705</c:v>
                </c:pt>
                <c:pt idx="36">
                  <c:v>0.88463881228334595</c:v>
                </c:pt>
                <c:pt idx="37">
                  <c:v>0.89235766892817436</c:v>
                </c:pt>
                <c:pt idx="38">
                  <c:v>0.90002560542578069</c:v>
                </c:pt>
                <c:pt idx="39">
                  <c:v>0.90763962095717576</c:v>
                </c:pt>
                <c:pt idx="40">
                  <c:v>0.91514284062495599</c:v>
                </c:pt>
                <c:pt idx="41">
                  <c:v>0.92245250746793639</c:v>
                </c:pt>
                <c:pt idx="42">
                  <c:v>0.92964875273068648</c:v>
                </c:pt>
                <c:pt idx="43">
                  <c:v>0.93629430082113174</c:v>
                </c:pt>
                <c:pt idx="44">
                  <c:v>0.94230269064214744</c:v>
                </c:pt>
                <c:pt idx="45">
                  <c:v>0.94816319635235435</c:v>
                </c:pt>
                <c:pt idx="46">
                  <c:v>0.95286125980664116</c:v>
                </c:pt>
                <c:pt idx="47">
                  <c:v>0.9572086025415717</c:v>
                </c:pt>
                <c:pt idx="48">
                  <c:v>0.96093055584404563</c:v>
                </c:pt>
                <c:pt idx="49">
                  <c:v>0.9645203793354038</c:v>
                </c:pt>
                <c:pt idx="50">
                  <c:v>0.96809604271215699</c:v>
                </c:pt>
                <c:pt idx="51">
                  <c:v>0.97162167680982547</c:v>
                </c:pt>
                <c:pt idx="52">
                  <c:v>0.97461372778098665</c:v>
                </c:pt>
                <c:pt idx="53">
                  <c:v>0.97730841634544219</c:v>
                </c:pt>
                <c:pt idx="54">
                  <c:v>0.97978188828504176</c:v>
                </c:pt>
                <c:pt idx="55">
                  <c:v>0.98212248020877824</c:v>
                </c:pt>
                <c:pt idx="56">
                  <c:v>0.98435710571196045</c:v>
                </c:pt>
                <c:pt idx="57">
                  <c:v>0.98659060590802172</c:v>
                </c:pt>
                <c:pt idx="58">
                  <c:v>0.98844759709653873</c:v>
                </c:pt>
                <c:pt idx="59">
                  <c:v>0.99011558357653628</c:v>
                </c:pt>
                <c:pt idx="60">
                  <c:v>0.99173349388965248</c:v>
                </c:pt>
                <c:pt idx="61">
                  <c:v>0.99300330920002788</c:v>
                </c:pt>
                <c:pt idx="62">
                  <c:v>0.9940589410550531</c:v>
                </c:pt>
                <c:pt idx="63">
                  <c:v>0.99503622340178355</c:v>
                </c:pt>
                <c:pt idx="64">
                  <c:v>0.99596239805010511</c:v>
                </c:pt>
                <c:pt idx="65">
                  <c:v>0.9968725839597502</c:v>
                </c:pt>
                <c:pt idx="66">
                  <c:v>0.9975664764631933</c:v>
                </c:pt>
                <c:pt idx="67">
                  <c:v>0.99811829894261905</c:v>
                </c:pt>
                <c:pt idx="68">
                  <c:v>0.99845054587007342</c:v>
                </c:pt>
                <c:pt idx="69">
                  <c:v>0.99868479730241355</c:v>
                </c:pt>
                <c:pt idx="70">
                  <c:v>0.99889011896418645</c:v>
                </c:pt>
                <c:pt idx="71">
                  <c:v>0.99908812612967335</c:v>
                </c:pt>
                <c:pt idx="72">
                  <c:v>0.99925987612900524</c:v>
                </c:pt>
                <c:pt idx="73">
                  <c:v>0.99943078214799641</c:v>
                </c:pt>
                <c:pt idx="74">
                  <c:v>0.99954157801161125</c:v>
                </c:pt>
                <c:pt idx="75">
                  <c:v>0.99964974815861063</c:v>
                </c:pt>
                <c:pt idx="76">
                  <c:v>0.99970610729025056</c:v>
                </c:pt>
                <c:pt idx="77">
                  <c:v>0.9997594656029013</c:v>
                </c:pt>
                <c:pt idx="78">
                  <c:v>0.99978398792057821</c:v>
                </c:pt>
                <c:pt idx="79">
                  <c:v>0.99980771314571115</c:v>
                </c:pt>
                <c:pt idx="80">
                  <c:v>0.99982862510304171</c:v>
                </c:pt>
                <c:pt idx="81">
                  <c:v>0.99988024856721425</c:v>
                </c:pt>
                <c:pt idx="82">
                  <c:v>0.99989478378419294</c:v>
                </c:pt>
                <c:pt idx="83">
                  <c:v>0.99991593018050706</c:v>
                </c:pt>
                <c:pt idx="84">
                  <c:v>0.99994181224428835</c:v>
                </c:pt>
                <c:pt idx="85">
                  <c:v>0.999959582719239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Schick</c:v>
                </c:pt>
                <c:pt idx="54">
                  <c:v>Harry's</c:v>
                </c:pt>
              </c:strCache>
            </c:strRef>
          </c:cat>
          <c:val>
            <c:numRef>
              <c:f>Sheet1!$B$2:$B$56</c:f>
              <c:numCache>
                <c:formatCode>General</c:formatCode>
                <c:ptCount val="55"/>
                <c:pt idx="0">
                  <c:v>0.93</c:v>
                </c:pt>
                <c:pt idx="1">
                  <c:v>0.95</c:v>
                </c:pt>
                <c:pt idx="2">
                  <c:v>0.91</c:v>
                </c:pt>
                <c:pt idx="3">
                  <c:v>0.76</c:v>
                </c:pt>
                <c:pt idx="4">
                  <c:v>0.55000000000000004</c:v>
                </c:pt>
                <c:pt idx="5">
                  <c:v>0.79</c:v>
                </c:pt>
                <c:pt idx="6">
                  <c:v>0.66</c:v>
                </c:pt>
                <c:pt idx="7">
                  <c:v>0.56999999999999995</c:v>
                </c:pt>
                <c:pt idx="8">
                  <c:v>0.57999999999999996</c:v>
                </c:pt>
                <c:pt idx="9">
                  <c:v>0.28000000000000003</c:v>
                </c:pt>
                <c:pt idx="10">
                  <c:v>0.71</c:v>
                </c:pt>
                <c:pt idx="11">
                  <c:v>0.48</c:v>
                </c:pt>
                <c:pt idx="12">
                  <c:v>0.69</c:v>
                </c:pt>
                <c:pt idx="13">
                  <c:v>0.56000000000000005</c:v>
                </c:pt>
                <c:pt idx="14">
                  <c:v>0.78</c:v>
                </c:pt>
                <c:pt idx="15">
                  <c:v>0.51</c:v>
                </c:pt>
                <c:pt idx="16">
                  <c:v>0.65</c:v>
                </c:pt>
                <c:pt idx="17">
                  <c:v>0.42</c:v>
                </c:pt>
                <c:pt idx="18">
                  <c:v>0.68</c:v>
                </c:pt>
                <c:pt idx="19">
                  <c:v>0.61</c:v>
                </c:pt>
                <c:pt idx="20">
                  <c:v>0.61</c:v>
                </c:pt>
                <c:pt idx="21">
                  <c:v>0.37</c:v>
                </c:pt>
                <c:pt idx="22">
                  <c:v>0.49</c:v>
                </c:pt>
                <c:pt idx="23">
                  <c:v>0.31</c:v>
                </c:pt>
                <c:pt idx="24">
                  <c:v>0.42</c:v>
                </c:pt>
                <c:pt idx="25">
                  <c:v>0.56999999999999995</c:v>
                </c:pt>
                <c:pt idx="26">
                  <c:v>0.69</c:v>
                </c:pt>
                <c:pt idx="27">
                  <c:v>0.23</c:v>
                </c:pt>
                <c:pt idx="28">
                  <c:v>0.69</c:v>
                </c:pt>
                <c:pt idx="29">
                  <c:v>0.26</c:v>
                </c:pt>
                <c:pt idx="30">
                  <c:v>0.42</c:v>
                </c:pt>
                <c:pt idx="31">
                  <c:v>0.53</c:v>
                </c:pt>
                <c:pt idx="32">
                  <c:v>0.21</c:v>
                </c:pt>
                <c:pt idx="33">
                  <c:v>0.14000000000000001</c:v>
                </c:pt>
                <c:pt idx="34">
                  <c:v>0.27</c:v>
                </c:pt>
                <c:pt idx="35">
                  <c:v>0.4</c:v>
                </c:pt>
                <c:pt idx="36">
                  <c:v>0.28999999999999998</c:v>
                </c:pt>
                <c:pt idx="37">
                  <c:v>0.21</c:v>
                </c:pt>
                <c:pt idx="38">
                  <c:v>0.16</c:v>
                </c:pt>
                <c:pt idx="39">
                  <c:v>0.16</c:v>
                </c:pt>
                <c:pt idx="40">
                  <c:v>0.43</c:v>
                </c:pt>
                <c:pt idx="41">
                  <c:v>0.08</c:v>
                </c:pt>
                <c:pt idx="42">
                  <c:v>0.18</c:v>
                </c:pt>
                <c:pt idx="43">
                  <c:v>0.41</c:v>
                </c:pt>
                <c:pt idx="44">
                  <c:v>0.21</c:v>
                </c:pt>
                <c:pt idx="45">
                  <c:v>0.06</c:v>
                </c:pt>
                <c:pt idx="46">
                  <c:v>0.27</c:v>
                </c:pt>
                <c:pt idx="47">
                  <c:v>0.23</c:v>
                </c:pt>
                <c:pt idx="48">
                  <c:v>0.34</c:v>
                </c:pt>
                <c:pt idx="49">
                  <c:v>0.36</c:v>
                </c:pt>
                <c:pt idx="50">
                  <c:v>0.06</c:v>
                </c:pt>
                <c:pt idx="51">
                  <c:v>0.13</c:v>
                </c:pt>
                <c:pt idx="52">
                  <c:v>0.01</c:v>
                </c:pt>
                <c:pt idx="53">
                  <c:v>0.01</c:v>
                </c:pt>
                <c:pt idx="5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Harry's</c:v>
                </c:pt>
                <c:pt idx="13">
                  <c:v>Schick</c:v>
                </c:pt>
                <c:pt idx="14">
                  <c:v>Bic</c:v>
                </c:pt>
                <c:pt idx="15">
                  <c:v>Bic</c:v>
                </c:pt>
                <c:pt idx="16">
                  <c:v>Equate</c:v>
                </c:pt>
                <c:pt idx="17">
                  <c:v>Harry's</c:v>
                </c:pt>
                <c:pt idx="18">
                  <c:v>Dollar Shav</c:v>
                </c:pt>
                <c:pt idx="19">
                  <c:v>Dollar Shav</c:v>
                </c:pt>
                <c:pt idx="20">
                  <c:v>Schick</c:v>
                </c:pt>
                <c:pt idx="21">
                  <c:v>Harry's</c:v>
                </c:pt>
                <c:pt idx="22">
                  <c:v>Harry's</c:v>
                </c:pt>
                <c:pt idx="23">
                  <c:v>Gillette</c:v>
                </c:pt>
                <c:pt idx="24">
                  <c:v>Gillette</c:v>
                </c:pt>
                <c:pt idx="25">
                  <c:v>Gillette</c:v>
                </c:pt>
                <c:pt idx="26">
                  <c:v>Bic</c:v>
                </c:pt>
                <c:pt idx="27">
                  <c:v>Gillette</c:v>
                </c:pt>
                <c:pt idx="28">
                  <c:v>Comfort 3</c:v>
                </c:pt>
                <c:pt idx="29">
                  <c:v>Gillette</c:v>
                </c:pt>
                <c:pt idx="30">
                  <c:v>Gillette</c:v>
                </c:pt>
                <c:pt idx="31">
                  <c:v>Equate</c:v>
                </c:pt>
                <c:pt idx="32">
                  <c:v>Gillette</c:v>
                </c:pt>
                <c:pt idx="33">
                  <c:v>Gillette</c:v>
                </c:pt>
                <c:pt idx="34">
                  <c:v>Dollar Shav</c:v>
                </c:pt>
                <c:pt idx="35">
                  <c:v>Equate</c:v>
                </c:pt>
                <c:pt idx="36">
                  <c:v>Gillette</c:v>
                </c:pt>
                <c:pt idx="37">
                  <c:v>Gillette</c:v>
                </c:pt>
                <c:pt idx="38">
                  <c:v>Gillette</c:v>
                </c:pt>
                <c:pt idx="39">
                  <c:v>Gillette</c:v>
                </c:pt>
                <c:pt idx="40">
                  <c:v>Bic</c:v>
                </c:pt>
                <c:pt idx="41">
                  <c:v>Gillette</c:v>
                </c:pt>
                <c:pt idx="42">
                  <c:v>Gillette</c:v>
                </c:pt>
                <c:pt idx="43">
                  <c:v>Equate</c:v>
                </c:pt>
                <c:pt idx="44">
                  <c:v>Gillette</c:v>
                </c:pt>
                <c:pt idx="45">
                  <c:v>Gillette</c:v>
                </c:pt>
                <c:pt idx="46">
                  <c:v>Harry's</c:v>
                </c:pt>
                <c:pt idx="47">
                  <c:v>Gillette</c:v>
                </c:pt>
                <c:pt idx="48">
                  <c:v>Dollar Shav</c:v>
                </c:pt>
                <c:pt idx="49">
                  <c:v>Bic</c:v>
                </c:pt>
                <c:pt idx="50">
                  <c:v>Van Der Hag</c:v>
                </c:pt>
                <c:pt idx="51">
                  <c:v>Van Der Hag</c:v>
                </c:pt>
                <c:pt idx="52">
                  <c:v>Bic</c:v>
                </c:pt>
                <c:pt idx="53">
                  <c:v>Schick</c:v>
                </c:pt>
                <c:pt idx="54">
                  <c:v>Harry's</c:v>
                </c:pt>
              </c:strCache>
            </c:strRef>
          </c:cat>
          <c:val>
            <c:numRef>
              <c:f>Sheet1!$C$2:$C$56</c:f>
              <c:numCache>
                <c:formatCode>General</c:formatCode>
                <c:ptCount val="55"/>
                <c:pt idx="0">
                  <c:v>9.7870616263198429E-2</c:v>
                </c:pt>
                <c:pt idx="1">
                  <c:v>0.18419395078953005</c:v>
                </c:pt>
                <c:pt idx="2">
                  <c:v>0.24884344568792582</c:v>
                </c:pt>
                <c:pt idx="3">
                  <c:v>0.2988711273455536</c:v>
                </c:pt>
                <c:pt idx="4">
                  <c:v>0.34819258396336095</c:v>
                </c:pt>
                <c:pt idx="5">
                  <c:v>0.39222515376203421</c:v>
                </c:pt>
                <c:pt idx="6">
                  <c:v>0.43422905519736715</c:v>
                </c:pt>
                <c:pt idx="7">
                  <c:v>0.46729959401811438</c:v>
                </c:pt>
                <c:pt idx="8">
                  <c:v>0.49765610114608211</c:v>
                </c:pt>
                <c:pt idx="9">
                  <c:v>0.52682289979901842</c:v>
                </c:pt>
                <c:pt idx="10">
                  <c:v>0.55204961281138321</c:v>
                </c:pt>
                <c:pt idx="11">
                  <c:v>0.57668008277548455</c:v>
                </c:pt>
                <c:pt idx="12">
                  <c:v>0.60100678732496848</c:v>
                </c:pt>
                <c:pt idx="13">
                  <c:v>0.62519118309655386</c:v>
                </c:pt>
                <c:pt idx="14">
                  <c:v>0.64785291040362258</c:v>
                </c:pt>
                <c:pt idx="15">
                  <c:v>0.66745298964266309</c:v>
                </c:pt>
                <c:pt idx="16">
                  <c:v>0.68641415683940232</c:v>
                </c:pt>
                <c:pt idx="17">
                  <c:v>0.70462075656263301</c:v>
                </c:pt>
                <c:pt idx="18">
                  <c:v>0.72209914666739783</c:v>
                </c:pt>
                <c:pt idx="19">
                  <c:v>0.73924174006285215</c:v>
                </c:pt>
                <c:pt idx="20">
                  <c:v>0.75634160536593908</c:v>
                </c:pt>
                <c:pt idx="21">
                  <c:v>0.77265599476908853</c:v>
                </c:pt>
                <c:pt idx="22">
                  <c:v>0.78846509345337057</c:v>
                </c:pt>
                <c:pt idx="23">
                  <c:v>0.80419488217920587</c:v>
                </c:pt>
                <c:pt idx="24">
                  <c:v>0.81948846613358384</c:v>
                </c:pt>
                <c:pt idx="25">
                  <c:v>0.83478027713807101</c:v>
                </c:pt>
                <c:pt idx="26">
                  <c:v>0.84962034051039192</c:v>
                </c:pt>
                <c:pt idx="27">
                  <c:v>0.86435473606922342</c:v>
                </c:pt>
                <c:pt idx="28">
                  <c:v>0.8781416081081016</c:v>
                </c:pt>
                <c:pt idx="29">
                  <c:v>0.8905510753768463</c:v>
                </c:pt>
                <c:pt idx="30">
                  <c:v>0.90095403615588521</c:v>
                </c:pt>
                <c:pt idx="31">
                  <c:v>0.91129878508017736</c:v>
                </c:pt>
                <c:pt idx="32">
                  <c:v>0.92156203740782416</c:v>
                </c:pt>
                <c:pt idx="33">
                  <c:v>0.93154563643936805</c:v>
                </c:pt>
                <c:pt idx="34">
                  <c:v>0.94077833209384421</c:v>
                </c:pt>
                <c:pt idx="35">
                  <c:v>0.94872540268419869</c:v>
                </c:pt>
                <c:pt idx="36">
                  <c:v>0.95618786697107805</c:v>
                </c:pt>
                <c:pt idx="37">
                  <c:v>0.96288879018154516</c:v>
                </c:pt>
                <c:pt idx="38">
                  <c:v>0.96793519655395255</c:v>
                </c:pt>
                <c:pt idx="39">
                  <c:v>0.97202113687220415</c:v>
                </c:pt>
                <c:pt idx="40">
                  <c:v>0.97607037712771694</c:v>
                </c:pt>
                <c:pt idx="41">
                  <c:v>0.98007866224075313</c:v>
                </c:pt>
                <c:pt idx="42">
                  <c:v>0.98290385789168344</c:v>
                </c:pt>
                <c:pt idx="43">
                  <c:v>0.9856862663519167</c:v>
                </c:pt>
                <c:pt idx="44">
                  <c:v>0.98842665589973888</c:v>
                </c:pt>
                <c:pt idx="45">
                  <c:v>0.9909227329526139</c:v>
                </c:pt>
                <c:pt idx="46">
                  <c:v>0.99302249660657382</c:v>
                </c:pt>
                <c:pt idx="47">
                  <c:v>0.99501747892198966</c:v>
                </c:pt>
                <c:pt idx="48">
                  <c:v>0.99675727464979502</c:v>
                </c:pt>
                <c:pt idx="49">
                  <c:v>0.99807091232219081</c:v>
                </c:pt>
                <c:pt idx="50">
                  <c:v>0.99872359427531021</c:v>
                </c:pt>
                <c:pt idx="51">
                  <c:v>0.99922758483092433</c:v>
                </c:pt>
                <c:pt idx="52">
                  <c:v>0.99939441941564511</c:v>
                </c:pt>
                <c:pt idx="53">
                  <c:v>0.999710359086179</c:v>
                </c:pt>
                <c:pt idx="54">
                  <c:v>0.999791205601197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strCache>
            </c:strRef>
          </c:cat>
          <c:val>
            <c:numRef>
              <c:f>Sheet1!$B$2:$B$84</c:f>
              <c:numCache>
                <c:formatCode>General</c:formatCode>
                <c:ptCount val="83"/>
                <c:pt idx="0">
                  <c:v>0.99</c:v>
                </c:pt>
                <c:pt idx="1">
                  <c:v>0.99</c:v>
                </c:pt>
                <c:pt idx="2">
                  <c:v>0.99</c:v>
                </c:pt>
                <c:pt idx="3">
                  <c:v>0.94</c:v>
                </c:pt>
                <c:pt idx="4">
                  <c:v>0.94</c:v>
                </c:pt>
                <c:pt idx="5">
                  <c:v>0.88</c:v>
                </c:pt>
                <c:pt idx="6">
                  <c:v>0.65</c:v>
                </c:pt>
                <c:pt idx="7">
                  <c:v>0.96</c:v>
                </c:pt>
                <c:pt idx="8">
                  <c:v>0.84</c:v>
                </c:pt>
                <c:pt idx="9">
                  <c:v>0.86</c:v>
                </c:pt>
                <c:pt idx="10">
                  <c:v>0.89</c:v>
                </c:pt>
                <c:pt idx="11">
                  <c:v>0.81</c:v>
                </c:pt>
                <c:pt idx="12">
                  <c:v>0.91</c:v>
                </c:pt>
                <c:pt idx="13">
                  <c:v>0.94</c:v>
                </c:pt>
                <c:pt idx="14">
                  <c:v>0.66</c:v>
                </c:pt>
                <c:pt idx="15">
                  <c:v>0.69</c:v>
                </c:pt>
                <c:pt idx="16">
                  <c:v>0.75</c:v>
                </c:pt>
                <c:pt idx="17">
                  <c:v>0.96</c:v>
                </c:pt>
                <c:pt idx="18">
                  <c:v>0.66</c:v>
                </c:pt>
                <c:pt idx="19">
                  <c:v>0.8</c:v>
                </c:pt>
                <c:pt idx="20">
                  <c:v>0.76</c:v>
                </c:pt>
                <c:pt idx="21">
                  <c:v>0.84</c:v>
                </c:pt>
                <c:pt idx="22">
                  <c:v>0.88</c:v>
                </c:pt>
                <c:pt idx="23">
                  <c:v>0.46</c:v>
                </c:pt>
                <c:pt idx="24">
                  <c:v>0.91</c:v>
                </c:pt>
                <c:pt idx="25">
                  <c:v>0.86</c:v>
                </c:pt>
                <c:pt idx="26">
                  <c:v>0.62</c:v>
                </c:pt>
                <c:pt idx="27">
                  <c:v>0.64</c:v>
                </c:pt>
                <c:pt idx="28">
                  <c:v>0.56999999999999995</c:v>
                </c:pt>
                <c:pt idx="29">
                  <c:v>0.87</c:v>
                </c:pt>
                <c:pt idx="30">
                  <c:v>0.86</c:v>
                </c:pt>
                <c:pt idx="31">
                  <c:v>0.67</c:v>
                </c:pt>
                <c:pt idx="32">
                  <c:v>0.49</c:v>
                </c:pt>
                <c:pt idx="33">
                  <c:v>0.65</c:v>
                </c:pt>
                <c:pt idx="34">
                  <c:v>0.91</c:v>
                </c:pt>
                <c:pt idx="35">
                  <c:v>0.59</c:v>
                </c:pt>
                <c:pt idx="36">
                  <c:v>0.64</c:v>
                </c:pt>
                <c:pt idx="37">
                  <c:v>0.89</c:v>
                </c:pt>
                <c:pt idx="38">
                  <c:v>0.93</c:v>
                </c:pt>
                <c:pt idx="39">
                  <c:v>0.56999999999999995</c:v>
                </c:pt>
                <c:pt idx="40">
                  <c:v>0.66</c:v>
                </c:pt>
                <c:pt idx="41">
                  <c:v>0.77</c:v>
                </c:pt>
                <c:pt idx="42">
                  <c:v>0.6</c:v>
                </c:pt>
                <c:pt idx="43">
                  <c:v>0.68</c:v>
                </c:pt>
                <c:pt idx="44">
                  <c:v>0.57999999999999996</c:v>
                </c:pt>
                <c:pt idx="45">
                  <c:v>0.35</c:v>
                </c:pt>
                <c:pt idx="46">
                  <c:v>0.89</c:v>
                </c:pt>
                <c:pt idx="47">
                  <c:v>0.75</c:v>
                </c:pt>
                <c:pt idx="48">
                  <c:v>0.46</c:v>
                </c:pt>
                <c:pt idx="49">
                  <c:v>0.91</c:v>
                </c:pt>
                <c:pt idx="50">
                  <c:v>0.41</c:v>
                </c:pt>
                <c:pt idx="51">
                  <c:v>0.49</c:v>
                </c:pt>
                <c:pt idx="52">
                  <c:v>0.21</c:v>
                </c:pt>
                <c:pt idx="53">
                  <c:v>0.26</c:v>
                </c:pt>
                <c:pt idx="54">
                  <c:v>0.6</c:v>
                </c:pt>
                <c:pt idx="55">
                  <c:v>0.47</c:v>
                </c:pt>
                <c:pt idx="56">
                  <c:v>0.6</c:v>
                </c:pt>
                <c:pt idx="57">
                  <c:v>0.31</c:v>
                </c:pt>
                <c:pt idx="58">
                  <c:v>0.83</c:v>
                </c:pt>
                <c:pt idx="59">
                  <c:v>0.84</c:v>
                </c:pt>
                <c:pt idx="60">
                  <c:v>0.74</c:v>
                </c:pt>
                <c:pt idx="61">
                  <c:v>0.17</c:v>
                </c:pt>
                <c:pt idx="62">
                  <c:v>0.64</c:v>
                </c:pt>
                <c:pt idx="63">
                  <c:v>0.71</c:v>
                </c:pt>
                <c:pt idx="64">
                  <c:v>0.38</c:v>
                </c:pt>
                <c:pt idx="65">
                  <c:v>0.46</c:v>
                </c:pt>
                <c:pt idx="66">
                  <c:v>0.33</c:v>
                </c:pt>
                <c:pt idx="67">
                  <c:v>0.65</c:v>
                </c:pt>
                <c:pt idx="68">
                  <c:v>0.73</c:v>
                </c:pt>
                <c:pt idx="69">
                  <c:v>0.35</c:v>
                </c:pt>
                <c:pt idx="70">
                  <c:v>0.42</c:v>
                </c:pt>
                <c:pt idx="71">
                  <c:v>0.18</c:v>
                </c:pt>
                <c:pt idx="72">
                  <c:v>0.19</c:v>
                </c:pt>
                <c:pt idx="73">
                  <c:v>0.06</c:v>
                </c:pt>
                <c:pt idx="74">
                  <c:v>0.05</c:v>
                </c:pt>
                <c:pt idx="75">
                  <c:v>0.13</c:v>
                </c:pt>
                <c:pt idx="76">
                  <c:v>7.0000000000000007E-2</c:v>
                </c:pt>
                <c:pt idx="77">
                  <c:v>0.04</c:v>
                </c:pt>
                <c:pt idx="78">
                  <c:v>0.02</c:v>
                </c:pt>
                <c:pt idx="79">
                  <c:v>0.01</c:v>
                </c:pt>
                <c:pt idx="80">
                  <c:v>0.01</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Gillette</c:v>
                </c:pt>
                <c:pt idx="1">
                  <c:v>Harry's</c:v>
                </c:pt>
                <c:pt idx="2">
                  <c:v>Gillette</c:v>
                </c:pt>
                <c:pt idx="3">
                  <c:v>Harry's</c:v>
                </c:pt>
                <c:pt idx="4">
                  <c:v>Gillette</c:v>
                </c:pt>
                <c:pt idx="5">
                  <c:v>Gillette</c:v>
                </c:pt>
                <c:pt idx="6">
                  <c:v>Gillette</c:v>
                </c:pt>
                <c:pt idx="7">
                  <c:v>Gillette</c:v>
                </c:pt>
                <c:pt idx="8">
                  <c:v>Gillette</c:v>
                </c:pt>
                <c:pt idx="9">
                  <c:v>Gillette</c:v>
                </c:pt>
                <c:pt idx="10">
                  <c:v>Harry's</c:v>
                </c:pt>
                <c:pt idx="11">
                  <c:v>Harry's</c:v>
                </c:pt>
                <c:pt idx="12">
                  <c:v>Gillette</c:v>
                </c:pt>
                <c:pt idx="13">
                  <c:v>Harry's</c:v>
                </c:pt>
                <c:pt idx="14">
                  <c:v>Gillette</c:v>
                </c:pt>
                <c:pt idx="15">
                  <c:v>Gillette</c:v>
                </c:pt>
                <c:pt idx="16">
                  <c:v>Gillette</c:v>
                </c:pt>
                <c:pt idx="17">
                  <c:v>Bic</c:v>
                </c:pt>
                <c:pt idx="18">
                  <c:v>Gillette</c:v>
                </c:pt>
                <c:pt idx="19">
                  <c:v>Schick</c:v>
                </c:pt>
                <c:pt idx="20">
                  <c:v>Gillette</c:v>
                </c:pt>
                <c:pt idx="21">
                  <c:v>Bic</c:v>
                </c:pt>
                <c:pt idx="22">
                  <c:v>Dollar Shav</c:v>
                </c:pt>
                <c:pt idx="23">
                  <c:v>Gillette</c:v>
                </c:pt>
                <c:pt idx="24">
                  <c:v>Dollar Shav</c:v>
                </c:pt>
                <c:pt idx="25">
                  <c:v>Equate</c:v>
                </c:pt>
                <c:pt idx="26">
                  <c:v>Gillette</c:v>
                </c:pt>
                <c:pt idx="27">
                  <c:v>Bic</c:v>
                </c:pt>
                <c:pt idx="28">
                  <c:v>Gillette</c:v>
                </c:pt>
                <c:pt idx="29">
                  <c:v>Schick</c:v>
                </c:pt>
                <c:pt idx="30">
                  <c:v>Harry's</c:v>
                </c:pt>
                <c:pt idx="31">
                  <c:v>Gillette</c:v>
                </c:pt>
                <c:pt idx="32">
                  <c:v>Schick</c:v>
                </c:pt>
                <c:pt idx="33">
                  <c:v>Van Der Hag</c:v>
                </c:pt>
                <c:pt idx="34">
                  <c:v>Bic</c:v>
                </c:pt>
                <c:pt idx="35">
                  <c:v>Dollar Shav</c:v>
                </c:pt>
                <c:pt idx="36">
                  <c:v>Gillette</c:v>
                </c:pt>
                <c:pt idx="37">
                  <c:v>Comfort 3</c:v>
                </c:pt>
                <c:pt idx="38">
                  <c:v>Van Der Hag</c:v>
                </c:pt>
                <c:pt idx="39">
                  <c:v>Gillette</c:v>
                </c:pt>
                <c:pt idx="40">
                  <c:v>Comfort 3</c:v>
                </c:pt>
                <c:pt idx="41">
                  <c:v>Equate</c:v>
                </c:pt>
                <c:pt idx="42">
                  <c:v>Equate</c:v>
                </c:pt>
                <c:pt idx="43">
                  <c:v>Gillette</c:v>
                </c:pt>
                <c:pt idx="44">
                  <c:v>Harry's</c:v>
                </c:pt>
                <c:pt idx="45">
                  <c:v>Gillette</c:v>
                </c:pt>
                <c:pt idx="46">
                  <c:v>Gillette</c:v>
                </c:pt>
                <c:pt idx="47">
                  <c:v>Bic</c:v>
                </c:pt>
                <c:pt idx="48">
                  <c:v>Gillette</c:v>
                </c:pt>
                <c:pt idx="49">
                  <c:v>Schick</c:v>
                </c:pt>
                <c:pt idx="50">
                  <c:v>Gillette</c:v>
                </c:pt>
                <c:pt idx="51">
                  <c:v>Gillette</c:v>
                </c:pt>
                <c:pt idx="52">
                  <c:v>Gillette</c:v>
                </c:pt>
                <c:pt idx="53">
                  <c:v>Harry's</c:v>
                </c:pt>
                <c:pt idx="54">
                  <c:v>Bic</c:v>
                </c:pt>
                <c:pt idx="55">
                  <c:v>Gillette</c:v>
                </c:pt>
                <c:pt idx="56">
                  <c:v>Gillette</c:v>
                </c:pt>
                <c:pt idx="57">
                  <c:v>Gillette</c:v>
                </c:pt>
                <c:pt idx="58">
                  <c:v>Bic</c:v>
                </c:pt>
                <c:pt idx="59">
                  <c:v>Gillette</c:v>
                </c:pt>
                <c:pt idx="60">
                  <c:v>Harry's</c:v>
                </c:pt>
                <c:pt idx="61">
                  <c:v>Gillette</c:v>
                </c:pt>
                <c:pt idx="62">
                  <c:v>Gillette</c:v>
                </c:pt>
                <c:pt idx="63">
                  <c:v>Equate</c:v>
                </c:pt>
                <c:pt idx="64">
                  <c:v>Gillette</c:v>
                </c:pt>
                <c:pt idx="65">
                  <c:v>Gillette</c:v>
                </c:pt>
                <c:pt idx="66">
                  <c:v>Gillette</c:v>
                </c:pt>
                <c:pt idx="67">
                  <c:v>Dollar Shav</c:v>
                </c:pt>
                <c:pt idx="68">
                  <c:v>Bic</c:v>
                </c:pt>
                <c:pt idx="69">
                  <c:v>Gillette</c:v>
                </c:pt>
                <c:pt idx="70">
                  <c:v>Gillette</c:v>
                </c:pt>
                <c:pt idx="71">
                  <c:v>Gillette</c:v>
                </c:pt>
                <c:pt idx="72">
                  <c:v>Gillette</c:v>
                </c:pt>
                <c:pt idx="73">
                  <c:v>Schick</c:v>
                </c:pt>
                <c:pt idx="74">
                  <c:v>Schick</c:v>
                </c:pt>
                <c:pt idx="75">
                  <c:v>Cremo</c:v>
                </c:pt>
                <c:pt idx="76">
                  <c:v>Cremo</c:v>
                </c:pt>
                <c:pt idx="77">
                  <c:v>Bic</c:v>
                </c:pt>
                <c:pt idx="78">
                  <c:v>Comfort 3</c:v>
                </c:pt>
                <c:pt idx="79">
                  <c:v>Bic</c:v>
                </c:pt>
                <c:pt idx="80">
                  <c:v>Bic</c:v>
                </c:pt>
                <c:pt idx="81">
                  <c:v>Schick</c:v>
                </c:pt>
                <c:pt idx="82">
                  <c:v>Harry's</c:v>
                </c:pt>
              </c:strCache>
            </c:strRef>
          </c:cat>
          <c:val>
            <c:numRef>
              <c:f>Sheet1!$C$2:$C$84</c:f>
              <c:numCache>
                <c:formatCode>General</c:formatCode>
                <c:ptCount val="83"/>
                <c:pt idx="0">
                  <c:v>8.1329146854941553E-2</c:v>
                </c:pt>
                <c:pt idx="1">
                  <c:v>0.16013863596254391</c:v>
                </c:pt>
                <c:pt idx="2">
                  <c:v>0.21319131460999152</c:v>
                </c:pt>
                <c:pt idx="3">
                  <c:v>0.25340672163864714</c:v>
                </c:pt>
                <c:pt idx="4">
                  <c:v>0.29344865258063962</c:v>
                </c:pt>
                <c:pt idx="5">
                  <c:v>0.33184453857395479</c:v>
                </c:pt>
                <c:pt idx="6">
                  <c:v>0.3669724400168744</c:v>
                </c:pt>
                <c:pt idx="7">
                  <c:v>0.39898034038981878</c:v>
                </c:pt>
                <c:pt idx="8">
                  <c:v>0.42703109395747452</c:v>
                </c:pt>
                <c:pt idx="9">
                  <c:v>0.4528126896589898</c:v>
                </c:pt>
                <c:pt idx="10">
                  <c:v>0.47676633088753906</c:v>
                </c:pt>
                <c:pt idx="11">
                  <c:v>0.50057106494074888</c:v>
                </c:pt>
                <c:pt idx="12">
                  <c:v>0.52177869165963053</c:v>
                </c:pt>
                <c:pt idx="13">
                  <c:v>0.54105700813258428</c:v>
                </c:pt>
                <c:pt idx="14">
                  <c:v>0.55991031849464368</c:v>
                </c:pt>
                <c:pt idx="15">
                  <c:v>0.57832210955299868</c:v>
                </c:pt>
                <c:pt idx="16">
                  <c:v>0.59581996114678193</c:v>
                </c:pt>
                <c:pt idx="17">
                  <c:v>0.61262621934811545</c:v>
                </c:pt>
                <c:pt idx="18">
                  <c:v>0.62894907263004551</c:v>
                </c:pt>
                <c:pt idx="19">
                  <c:v>0.64475596847274708</c:v>
                </c:pt>
                <c:pt idx="20">
                  <c:v>0.65985053070994582</c:v>
                </c:pt>
                <c:pt idx="21">
                  <c:v>0.67479981874289952</c:v>
                </c:pt>
                <c:pt idx="22">
                  <c:v>0.68880455832797749</c:v>
                </c:pt>
                <c:pt idx="23">
                  <c:v>0.70257450771310137</c:v>
                </c:pt>
                <c:pt idx="24">
                  <c:v>0.71633651469544524</c:v>
                </c:pt>
                <c:pt idx="25">
                  <c:v>0.72999272598835729</c:v>
                </c:pt>
                <c:pt idx="26">
                  <c:v>0.74336241329822617</c:v>
                </c:pt>
                <c:pt idx="27">
                  <c:v>0.75591917353547433</c:v>
                </c:pt>
                <c:pt idx="28">
                  <c:v>0.76839308280243335</c:v>
                </c:pt>
                <c:pt idx="29">
                  <c:v>0.78075449014881937</c:v>
                </c:pt>
                <c:pt idx="30">
                  <c:v>0.79298477402241607</c:v>
                </c:pt>
                <c:pt idx="31">
                  <c:v>0.80429278800811865</c:v>
                </c:pt>
                <c:pt idx="32">
                  <c:v>0.8154184117361174</c:v>
                </c:pt>
                <c:pt idx="33">
                  <c:v>0.82605599146725661</c:v>
                </c:pt>
                <c:pt idx="34">
                  <c:v>0.83580141239133987</c:v>
                </c:pt>
                <c:pt idx="35">
                  <c:v>0.84540565908044729</c:v>
                </c:pt>
                <c:pt idx="36">
                  <c:v>0.8543211555718746</c:v>
                </c:pt>
                <c:pt idx="37">
                  <c:v>0.86291054311733206</c:v>
                </c:pt>
                <c:pt idx="38">
                  <c:v>0.87119186295512785</c:v>
                </c:pt>
                <c:pt idx="39">
                  <c:v>0.87883725832994697</c:v>
                </c:pt>
                <c:pt idx="40">
                  <c:v>0.8860350702924108</c:v>
                </c:pt>
                <c:pt idx="41">
                  <c:v>0.89305986973257612</c:v>
                </c:pt>
                <c:pt idx="42">
                  <c:v>0.89983926849955331</c:v>
                </c:pt>
                <c:pt idx="43">
                  <c:v>0.90660613729344586</c:v>
                </c:pt>
                <c:pt idx="44">
                  <c:v>0.91301514126548855</c:v>
                </c:pt>
                <c:pt idx="45">
                  <c:v>0.91915460144547279</c:v>
                </c:pt>
                <c:pt idx="46">
                  <c:v>0.92527130919968048</c:v>
                </c:pt>
                <c:pt idx="47">
                  <c:v>0.9306926532379397</c:v>
                </c:pt>
                <c:pt idx="48">
                  <c:v>0.93556301840767753</c:v>
                </c:pt>
                <c:pt idx="49">
                  <c:v>0.94022639350409676</c:v>
                </c:pt>
                <c:pt idx="50">
                  <c:v>0.9448581020036988</c:v>
                </c:pt>
                <c:pt idx="51">
                  <c:v>0.94914022803143172</c:v>
                </c:pt>
                <c:pt idx="52">
                  <c:v>0.95301156735592818</c:v>
                </c:pt>
                <c:pt idx="53">
                  <c:v>0.95671559428290553</c:v>
                </c:pt>
                <c:pt idx="54">
                  <c:v>0.96032405827457346</c:v>
                </c:pt>
                <c:pt idx="55">
                  <c:v>0.96384274186715402</c:v>
                </c:pt>
                <c:pt idx="56">
                  <c:v>0.96719844309676195</c:v>
                </c:pt>
                <c:pt idx="57">
                  <c:v>0.97053780625787534</c:v>
                </c:pt>
                <c:pt idx="58">
                  <c:v>0.97367568374327351</c:v>
                </c:pt>
                <c:pt idx="59">
                  <c:v>0.97677729332630958</c:v>
                </c:pt>
                <c:pt idx="60">
                  <c:v>0.97979948231535452</c:v>
                </c:pt>
                <c:pt idx="61">
                  <c:v>0.98260846260097512</c:v>
                </c:pt>
                <c:pt idx="62">
                  <c:v>0.9847687961571685</c:v>
                </c:pt>
                <c:pt idx="63">
                  <c:v>0.98685684114296535</c:v>
                </c:pt>
                <c:pt idx="64">
                  <c:v>0.98881223461047474</c:v>
                </c:pt>
                <c:pt idx="65">
                  <c:v>0.99070773212826779</c:v>
                </c:pt>
                <c:pt idx="66">
                  <c:v>0.9920904862530936</c:v>
                </c:pt>
                <c:pt idx="67">
                  <c:v>0.99341075190157146</c:v>
                </c:pt>
                <c:pt idx="68">
                  <c:v>0.99457404778857605</c:v>
                </c:pt>
                <c:pt idx="69">
                  <c:v>0.99568977167034245</c:v>
                </c:pt>
                <c:pt idx="70">
                  <c:v>0.9967420524765509</c:v>
                </c:pt>
                <c:pt idx="71">
                  <c:v>0.99766165772780113</c:v>
                </c:pt>
                <c:pt idx="72">
                  <c:v>0.99844360153181611</c:v>
                </c:pt>
                <c:pt idx="73">
                  <c:v>0.99883812914419057</c:v>
                </c:pt>
                <c:pt idx="74">
                  <c:v>0.99917088594652981</c:v>
                </c:pt>
                <c:pt idx="75">
                  <c:v>0.99946911578823172</c:v>
                </c:pt>
                <c:pt idx="76">
                  <c:v>0.99961310231368616</c:v>
                </c:pt>
                <c:pt idx="77">
                  <c:v>0.99972952907921264</c:v>
                </c:pt>
                <c:pt idx="78">
                  <c:v>0.99976796714956317</c:v>
                </c:pt>
                <c:pt idx="79">
                  <c:v>0.99979516292561965</c:v>
                </c:pt>
                <c:pt idx="80">
                  <c:v>0.99981853687102573</c:v>
                </c:pt>
                <c:pt idx="81">
                  <c:v>0.99985008328448921</c:v>
                </c:pt>
                <c:pt idx="82">
                  <c:v>0.999862918866673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strCache>
            </c:strRef>
          </c:cat>
          <c:val>
            <c:numRef>
              <c:f>Sheet1!$B$2:$B$55</c:f>
              <c:numCache>
                <c:formatCode>General</c:formatCode>
                <c:ptCount val="54"/>
                <c:pt idx="0">
                  <c:v>0.91</c:v>
                </c:pt>
                <c:pt idx="1">
                  <c:v>0.97499999999999998</c:v>
                </c:pt>
                <c:pt idx="2">
                  <c:v>0.98499999999999999</c:v>
                </c:pt>
                <c:pt idx="3">
                  <c:v>0.94199999999999995</c:v>
                </c:pt>
                <c:pt idx="4">
                  <c:v>0.85199999999999998</c:v>
                </c:pt>
                <c:pt idx="5">
                  <c:v>0.96299999999999997</c:v>
                </c:pt>
                <c:pt idx="6">
                  <c:v>0.95</c:v>
                </c:pt>
                <c:pt idx="7">
                  <c:v>0.98699999999999999</c:v>
                </c:pt>
                <c:pt idx="8">
                  <c:v>0.80400000000000005</c:v>
                </c:pt>
                <c:pt idx="9">
                  <c:v>0.66500000000000004</c:v>
                </c:pt>
                <c:pt idx="10">
                  <c:v>0.93899999999999995</c:v>
                </c:pt>
                <c:pt idx="11">
                  <c:v>0.85699999999999998</c:v>
                </c:pt>
                <c:pt idx="12">
                  <c:v>0.79300000000000004</c:v>
                </c:pt>
                <c:pt idx="13">
                  <c:v>0.95</c:v>
                </c:pt>
                <c:pt idx="14">
                  <c:v>0.60899999999999999</c:v>
                </c:pt>
                <c:pt idx="15">
                  <c:v>0.98799999999999999</c:v>
                </c:pt>
                <c:pt idx="16">
                  <c:v>0.89100000000000001</c:v>
                </c:pt>
                <c:pt idx="17">
                  <c:v>0.82399999999999995</c:v>
                </c:pt>
                <c:pt idx="18">
                  <c:v>0.91100000000000003</c:v>
                </c:pt>
                <c:pt idx="19">
                  <c:v>0.78200000000000003</c:v>
                </c:pt>
                <c:pt idx="20">
                  <c:v>0.64600000000000002</c:v>
                </c:pt>
                <c:pt idx="21">
                  <c:v>0.88</c:v>
                </c:pt>
                <c:pt idx="22">
                  <c:v>0.95899999999999996</c:v>
                </c:pt>
                <c:pt idx="23">
                  <c:v>0.89700000000000002</c:v>
                </c:pt>
                <c:pt idx="24">
                  <c:v>0.95299999999999996</c:v>
                </c:pt>
                <c:pt idx="25">
                  <c:v>0.93799999999999994</c:v>
                </c:pt>
                <c:pt idx="26">
                  <c:v>0.63400000000000001</c:v>
                </c:pt>
                <c:pt idx="27">
                  <c:v>0.70099999999999996</c:v>
                </c:pt>
                <c:pt idx="28">
                  <c:v>0.877</c:v>
                </c:pt>
                <c:pt idx="29">
                  <c:v>0.63200000000000001</c:v>
                </c:pt>
                <c:pt idx="30">
                  <c:v>0.65200000000000002</c:v>
                </c:pt>
                <c:pt idx="31">
                  <c:v>0.80500000000000005</c:v>
                </c:pt>
                <c:pt idx="32">
                  <c:v>0.97799999999999998</c:v>
                </c:pt>
                <c:pt idx="33">
                  <c:v>0.82199999999999995</c:v>
                </c:pt>
                <c:pt idx="34">
                  <c:v>0.76</c:v>
                </c:pt>
                <c:pt idx="35">
                  <c:v>0.75900000000000001</c:v>
                </c:pt>
                <c:pt idx="36">
                  <c:v>0.68200000000000005</c:v>
                </c:pt>
                <c:pt idx="37">
                  <c:v>0.72199999999999998</c:v>
                </c:pt>
                <c:pt idx="38">
                  <c:v>0.45400000000000001</c:v>
                </c:pt>
                <c:pt idx="39">
                  <c:v>0.753</c:v>
                </c:pt>
                <c:pt idx="40">
                  <c:v>0.54400000000000004</c:v>
                </c:pt>
                <c:pt idx="41">
                  <c:v>0.84399999999999997</c:v>
                </c:pt>
                <c:pt idx="42">
                  <c:v>0.89600000000000002</c:v>
                </c:pt>
                <c:pt idx="43">
                  <c:v>0.81699999999999995</c:v>
                </c:pt>
                <c:pt idx="44">
                  <c:v>0.59599999999999997</c:v>
                </c:pt>
                <c:pt idx="45">
                  <c:v>0.63400000000000001</c:v>
                </c:pt>
                <c:pt idx="46">
                  <c:v>0.72199999999999998</c:v>
                </c:pt>
                <c:pt idx="47">
                  <c:v>0.53400000000000003</c:v>
                </c:pt>
                <c:pt idx="48">
                  <c:v>0.498</c:v>
                </c:pt>
                <c:pt idx="49">
                  <c:v>0.65500000000000003</c:v>
                </c:pt>
                <c:pt idx="50">
                  <c:v>0.52500000000000002</c:v>
                </c:pt>
                <c:pt idx="51">
                  <c:v>0.32200000000000001</c:v>
                </c:pt>
                <c:pt idx="52">
                  <c:v>2E-3</c:v>
                </c:pt>
                <c:pt idx="53">
                  <c:v>4.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Gillette</c:v>
                </c:pt>
                <c:pt idx="1">
                  <c:v>Gillette</c:v>
                </c:pt>
                <c:pt idx="2">
                  <c:v>Equate</c:v>
                </c:pt>
                <c:pt idx="3">
                  <c:v>Gillette</c:v>
                </c:pt>
                <c:pt idx="4">
                  <c:v>Gillette</c:v>
                </c:pt>
                <c:pt idx="5">
                  <c:v>Gillette</c:v>
                </c:pt>
                <c:pt idx="6">
                  <c:v>Gillette</c:v>
                </c:pt>
                <c:pt idx="7">
                  <c:v>Bic</c:v>
                </c:pt>
                <c:pt idx="8">
                  <c:v>Gillette</c:v>
                </c:pt>
                <c:pt idx="9">
                  <c:v>Gillette</c:v>
                </c:pt>
                <c:pt idx="10">
                  <c:v>Schick</c:v>
                </c:pt>
                <c:pt idx="11">
                  <c:v>Schick</c:v>
                </c:pt>
                <c:pt idx="12">
                  <c:v>Gillette</c:v>
                </c:pt>
                <c:pt idx="13">
                  <c:v>Schick</c:v>
                </c:pt>
                <c:pt idx="14">
                  <c:v>Gillette</c:v>
                </c:pt>
                <c:pt idx="15">
                  <c:v>Equate</c:v>
                </c:pt>
                <c:pt idx="16">
                  <c:v>Gillette</c:v>
                </c:pt>
                <c:pt idx="17">
                  <c:v>Gillette</c:v>
                </c:pt>
                <c:pt idx="18">
                  <c:v>Equate</c:v>
                </c:pt>
                <c:pt idx="19">
                  <c:v>Bic</c:v>
                </c:pt>
                <c:pt idx="20">
                  <c:v>Gillette</c:v>
                </c:pt>
                <c:pt idx="21">
                  <c:v>Bic</c:v>
                </c:pt>
                <c:pt idx="22">
                  <c:v>Equate</c:v>
                </c:pt>
                <c:pt idx="23">
                  <c:v>Bic</c:v>
                </c:pt>
                <c:pt idx="24">
                  <c:v>Bic</c:v>
                </c:pt>
                <c:pt idx="25">
                  <c:v>Equate</c:v>
                </c:pt>
                <c:pt idx="26">
                  <c:v>Gillette</c:v>
                </c:pt>
                <c:pt idx="27">
                  <c:v>Schick</c:v>
                </c:pt>
                <c:pt idx="28">
                  <c:v>Bic</c:v>
                </c:pt>
                <c:pt idx="29">
                  <c:v>Gillette</c:v>
                </c:pt>
                <c:pt idx="30">
                  <c:v>Gillette</c:v>
                </c:pt>
                <c:pt idx="31">
                  <c:v>Bic</c:v>
                </c:pt>
                <c:pt idx="32">
                  <c:v>Equate</c:v>
                </c:pt>
                <c:pt idx="33">
                  <c:v>Bic</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Gillette</c:v>
                </c:pt>
                <c:pt idx="48">
                  <c:v>Bic</c:v>
                </c:pt>
                <c:pt idx="49">
                  <c:v>Harry's</c:v>
                </c:pt>
                <c:pt idx="50">
                  <c:v>Harry's</c:v>
                </c:pt>
                <c:pt idx="51">
                  <c:v>Gillette</c:v>
                </c:pt>
                <c:pt idx="52">
                  <c:v>Bic</c:v>
                </c:pt>
                <c:pt idx="53">
                  <c:v>Equate</c:v>
                </c:pt>
              </c:strCache>
            </c:strRef>
          </c:cat>
          <c:val>
            <c:numRef>
              <c:f>Sheet1!$C$2:$C$55</c:f>
              <c:numCache>
                <c:formatCode>General</c:formatCode>
                <c:ptCount val="54"/>
                <c:pt idx="0">
                  <c:v>6.7910148356552555E-2</c:v>
                </c:pt>
                <c:pt idx="1">
                  <c:v>0.12219436758468043</c:v>
                </c:pt>
                <c:pt idx="2">
                  <c:v>0.17629512021373683</c:v>
                </c:pt>
                <c:pt idx="3">
                  <c:v>0.22306920056492457</c:v>
                </c:pt>
                <c:pt idx="4">
                  <c:v>0.26617974697618846</c:v>
                </c:pt>
                <c:pt idx="5">
                  <c:v>0.30406581293863993</c:v>
                </c:pt>
                <c:pt idx="6">
                  <c:v>0.33997815881473592</c:v>
                </c:pt>
                <c:pt idx="7">
                  <c:v>0.37516253523654641</c:v>
                </c:pt>
                <c:pt idx="8">
                  <c:v>0.40864299830300349</c:v>
                </c:pt>
                <c:pt idx="9">
                  <c:v>0.44106545478286069</c:v>
                </c:pt>
                <c:pt idx="10">
                  <c:v>0.4715835142419123</c:v>
                </c:pt>
                <c:pt idx="11">
                  <c:v>0.49878162007985644</c:v>
                </c:pt>
                <c:pt idx="12">
                  <c:v>0.524081503996637</c:v>
                </c:pt>
                <c:pt idx="13">
                  <c:v>0.54912212644766989</c:v>
                </c:pt>
                <c:pt idx="14">
                  <c:v>0.5736634126631921</c:v>
                </c:pt>
                <c:pt idx="15">
                  <c:v>0.5974708757513949</c:v>
                </c:pt>
                <c:pt idx="16">
                  <c:v>0.62072508947187788</c:v>
                </c:pt>
                <c:pt idx="17">
                  <c:v>0.6437367744540714</c:v>
                </c:pt>
                <c:pt idx="18">
                  <c:v>0.66609256371754</c:v>
                </c:pt>
                <c:pt idx="19">
                  <c:v>0.68831155505290476</c:v>
                </c:pt>
                <c:pt idx="20">
                  <c:v>0.71049167231254562</c:v>
                </c:pt>
                <c:pt idx="21">
                  <c:v>0.73260982223093474</c:v>
                </c:pt>
                <c:pt idx="22">
                  <c:v>0.75465573770045935</c:v>
                </c:pt>
                <c:pt idx="23">
                  <c:v>0.77510158533413454</c:v>
                </c:pt>
                <c:pt idx="24">
                  <c:v>0.79546744719266793</c:v>
                </c:pt>
                <c:pt idx="25">
                  <c:v>0.81558296099254446</c:v>
                </c:pt>
                <c:pt idx="26">
                  <c:v>0.83558984496148259</c:v>
                </c:pt>
                <c:pt idx="27">
                  <c:v>0.85416969369144513</c:v>
                </c:pt>
                <c:pt idx="28">
                  <c:v>0.87049231170424413</c:v>
                </c:pt>
                <c:pt idx="29">
                  <c:v>0.88650667541870098</c:v>
                </c:pt>
                <c:pt idx="30">
                  <c:v>0.90080811965149976</c:v>
                </c:pt>
                <c:pt idx="31">
                  <c:v>0.91266382264283052</c:v>
                </c:pt>
                <c:pt idx="32">
                  <c:v>0.92349909505429151</c:v>
                </c:pt>
                <c:pt idx="33">
                  <c:v>0.93357919419412549</c:v>
                </c:pt>
                <c:pt idx="34">
                  <c:v>0.94240160664842743</c:v>
                </c:pt>
                <c:pt idx="35">
                  <c:v>0.94941274307902668</c:v>
                </c:pt>
                <c:pt idx="36">
                  <c:v>0.95548857753062588</c:v>
                </c:pt>
                <c:pt idx="37">
                  <c:v>0.9606295488741704</c:v>
                </c:pt>
                <c:pt idx="38">
                  <c:v>0.96503594297412287</c:v>
                </c:pt>
                <c:pt idx="39">
                  <c:v>0.96934843723557618</c:v>
                </c:pt>
                <c:pt idx="40">
                  <c:v>0.97303353766463985</c:v>
                </c:pt>
                <c:pt idx="41">
                  <c:v>0.9765829527961658</c:v>
                </c:pt>
                <c:pt idx="42">
                  <c:v>0.97991142422238497</c:v>
                </c:pt>
                <c:pt idx="43">
                  <c:v>0.98319421598258416</c:v>
                </c:pt>
                <c:pt idx="44">
                  <c:v>0.98616388877635486</c:v>
                </c:pt>
                <c:pt idx="45">
                  <c:v>0.98900959598121763</c:v>
                </c:pt>
                <c:pt idx="46">
                  <c:v>0.99177897054796393</c:v>
                </c:pt>
                <c:pt idx="47">
                  <c:v>0.99413719103284515</c:v>
                </c:pt>
                <c:pt idx="48">
                  <c:v>0.99645748317798366</c:v>
                </c:pt>
                <c:pt idx="49">
                  <c:v>0.99820370740125408</c:v>
                </c:pt>
                <c:pt idx="50">
                  <c:v>0.99972803600195559</c:v>
                </c:pt>
                <c:pt idx="51">
                  <c:v>0.99991377731240672</c:v>
                </c:pt>
                <c:pt idx="52">
                  <c:v>0.99994259444406908</c:v>
                </c:pt>
                <c:pt idx="53">
                  <c:v>0.9999631162967329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B$2:$B$8</c:f>
              <c:numCache>
                <c:formatCode>General</c:formatCode>
                <c:ptCount val="7"/>
                <c:pt idx="0">
                  <c:v>1</c:v>
                </c:pt>
                <c:pt idx="1">
                  <c:v>0.99</c:v>
                </c:pt>
                <c:pt idx="2">
                  <c:v>0.99</c:v>
                </c:pt>
                <c:pt idx="3">
                  <c:v>0.8</c:v>
                </c:pt>
                <c:pt idx="4">
                  <c:v>0.86</c:v>
                </c:pt>
                <c:pt idx="5">
                  <c:v>0.57999999999999996</c:v>
                </c:pt>
                <c:pt idx="6">
                  <c:v>0.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AEABAB"/>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c:f>
              <c:strCache>
                <c:ptCount val="7"/>
                <c:pt idx="0">
                  <c:v>Gillette</c:v>
                </c:pt>
                <c:pt idx="1">
                  <c:v>Schick</c:v>
                </c:pt>
                <c:pt idx="2">
                  <c:v>Gillette</c:v>
                </c:pt>
                <c:pt idx="3">
                  <c:v>Bic</c:v>
                </c:pt>
                <c:pt idx="4">
                  <c:v>Schick</c:v>
                </c:pt>
                <c:pt idx="5">
                  <c:v>Pbg Pl</c:v>
                </c:pt>
                <c:pt idx="6">
                  <c:v>Schick</c:v>
                </c:pt>
              </c:strCache>
            </c:strRef>
          </c:cat>
          <c:val>
            <c:numRef>
              <c:f>Sheet1!$C$2:$C$8</c:f>
              <c:numCache>
                <c:formatCode>General</c:formatCode>
                <c:ptCount val="7"/>
                <c:pt idx="0">
                  <c:v>0.45040300931672739</c:v>
                </c:pt>
                <c:pt idx="1">
                  <c:v>0.71928998419775114</c:v>
                </c:pt>
                <c:pt idx="2">
                  <c:v>0.91574454650785286</c:v>
                </c:pt>
                <c:pt idx="3">
                  <c:v>0.96033954649939213</c:v>
                </c:pt>
                <c:pt idx="4">
                  <c:v>0.98938732866090862</c:v>
                </c:pt>
                <c:pt idx="5">
                  <c:v>0.99732084560040202</c:v>
                </c:pt>
                <c:pt idx="6">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Schick</c:v>
                </c:pt>
                <c:pt idx="2">
                  <c:v>Gillette</c:v>
                </c:pt>
                <c:pt idx="3">
                  <c:v>Schick</c:v>
                </c:pt>
                <c:pt idx="4">
                  <c:v>Bic</c:v>
                </c:pt>
                <c:pt idx="5">
                  <c:v>Bic</c:v>
                </c:pt>
              </c:strCache>
            </c:strRef>
          </c:cat>
          <c:val>
            <c:numRef>
              <c:f>Sheet1!$B$2:$B$7</c:f>
              <c:numCache>
                <c:formatCode>General</c:formatCode>
                <c:ptCount val="6"/>
                <c:pt idx="0">
                  <c:v>1</c:v>
                </c:pt>
                <c:pt idx="1">
                  <c:v>0.97</c:v>
                </c:pt>
                <c:pt idx="2">
                  <c:v>0.1</c:v>
                </c:pt>
                <c:pt idx="3">
                  <c:v>0.71</c:v>
                </c:pt>
                <c:pt idx="4">
                  <c:v>0.06</c:v>
                </c:pt>
                <c:pt idx="5">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Schick</c:v>
                </c:pt>
                <c:pt idx="2">
                  <c:v>Gillette</c:v>
                </c:pt>
                <c:pt idx="3">
                  <c:v>Schick</c:v>
                </c:pt>
                <c:pt idx="4">
                  <c:v>Bic</c:v>
                </c:pt>
                <c:pt idx="5">
                  <c:v>Bic</c:v>
                </c:pt>
              </c:strCache>
            </c:strRef>
          </c:cat>
          <c:val>
            <c:numRef>
              <c:f>Sheet1!$C$2:$C$7</c:f>
              <c:numCache>
                <c:formatCode>General</c:formatCode>
                <c:ptCount val="6"/>
                <c:pt idx="0">
                  <c:v>0.54988077895786913</c:v>
                </c:pt>
                <c:pt idx="1">
                  <c:v>0.92941923194066789</c:v>
                </c:pt>
                <c:pt idx="2">
                  <c:v>0.96014406729614188</c:v>
                </c:pt>
                <c:pt idx="3">
                  <c:v>0.9807419148953388</c:v>
                </c:pt>
                <c:pt idx="4">
                  <c:v>0.99645565113249235</c:v>
                </c:pt>
                <c:pt idx="5">
                  <c:v>0.999794554829196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4</c:f>
              <c:strCache>
                <c:ptCount val="53"/>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strCache>
            </c:strRef>
          </c:cat>
          <c:val>
            <c:numRef>
              <c:f>Sheet1!$B$2:$B$54</c:f>
              <c:numCache>
                <c:formatCode>General</c:formatCode>
                <c:ptCount val="53"/>
                <c:pt idx="0">
                  <c:v>0.94</c:v>
                </c:pt>
                <c:pt idx="1">
                  <c:v>0.96</c:v>
                </c:pt>
                <c:pt idx="2">
                  <c:v>0.98</c:v>
                </c:pt>
                <c:pt idx="3">
                  <c:v>0.88</c:v>
                </c:pt>
                <c:pt idx="4">
                  <c:v>0.98</c:v>
                </c:pt>
                <c:pt idx="5">
                  <c:v>0.77</c:v>
                </c:pt>
                <c:pt idx="6">
                  <c:v>0.81</c:v>
                </c:pt>
                <c:pt idx="7">
                  <c:v>0.95</c:v>
                </c:pt>
                <c:pt idx="8">
                  <c:v>0.99</c:v>
                </c:pt>
                <c:pt idx="9">
                  <c:v>0.95</c:v>
                </c:pt>
                <c:pt idx="10">
                  <c:v>0.94</c:v>
                </c:pt>
                <c:pt idx="11">
                  <c:v>0.76</c:v>
                </c:pt>
                <c:pt idx="12">
                  <c:v>0.67</c:v>
                </c:pt>
                <c:pt idx="13">
                  <c:v>0.87</c:v>
                </c:pt>
                <c:pt idx="14">
                  <c:v>0.82</c:v>
                </c:pt>
                <c:pt idx="15">
                  <c:v>0.71</c:v>
                </c:pt>
                <c:pt idx="16">
                  <c:v>0.99</c:v>
                </c:pt>
                <c:pt idx="17">
                  <c:v>0.84</c:v>
                </c:pt>
                <c:pt idx="18">
                  <c:v>0.91</c:v>
                </c:pt>
                <c:pt idx="19">
                  <c:v>0.95</c:v>
                </c:pt>
                <c:pt idx="20">
                  <c:v>0.77</c:v>
                </c:pt>
                <c:pt idx="21">
                  <c:v>0.9</c:v>
                </c:pt>
                <c:pt idx="22">
                  <c:v>0.9</c:v>
                </c:pt>
                <c:pt idx="23">
                  <c:v>0.95</c:v>
                </c:pt>
                <c:pt idx="24">
                  <c:v>0.95</c:v>
                </c:pt>
                <c:pt idx="25">
                  <c:v>0.68</c:v>
                </c:pt>
                <c:pt idx="26">
                  <c:v>0.69</c:v>
                </c:pt>
                <c:pt idx="27">
                  <c:v>0.94</c:v>
                </c:pt>
                <c:pt idx="28">
                  <c:v>0.85</c:v>
                </c:pt>
                <c:pt idx="29">
                  <c:v>0.84</c:v>
                </c:pt>
                <c:pt idx="30">
                  <c:v>0.7</c:v>
                </c:pt>
                <c:pt idx="31">
                  <c:v>0.77</c:v>
                </c:pt>
                <c:pt idx="32">
                  <c:v>0.83</c:v>
                </c:pt>
                <c:pt idx="33">
                  <c:v>0.97</c:v>
                </c:pt>
                <c:pt idx="34">
                  <c:v>0.81</c:v>
                </c:pt>
                <c:pt idx="35">
                  <c:v>0.78</c:v>
                </c:pt>
                <c:pt idx="36">
                  <c:v>0.77</c:v>
                </c:pt>
                <c:pt idx="37">
                  <c:v>0.6</c:v>
                </c:pt>
                <c:pt idx="38">
                  <c:v>0.73</c:v>
                </c:pt>
                <c:pt idx="39">
                  <c:v>0.84</c:v>
                </c:pt>
                <c:pt idx="40">
                  <c:v>0.78</c:v>
                </c:pt>
                <c:pt idx="41">
                  <c:v>0.64</c:v>
                </c:pt>
                <c:pt idx="42">
                  <c:v>0.88</c:v>
                </c:pt>
                <c:pt idx="43">
                  <c:v>0.61</c:v>
                </c:pt>
                <c:pt idx="44">
                  <c:v>0.65</c:v>
                </c:pt>
                <c:pt idx="45">
                  <c:v>0.48</c:v>
                </c:pt>
                <c:pt idx="46">
                  <c:v>0.67</c:v>
                </c:pt>
                <c:pt idx="47">
                  <c:v>0.61</c:v>
                </c:pt>
                <c:pt idx="48">
                  <c:v>0.48</c:v>
                </c:pt>
                <c:pt idx="49">
                  <c:v>0.04</c:v>
                </c:pt>
                <c:pt idx="50">
                  <c:v>0.36</c:v>
                </c:pt>
                <c:pt idx="51">
                  <c:v>0.03</c:v>
                </c:pt>
                <c:pt idx="52">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4</c:f>
              <c:strCache>
                <c:ptCount val="53"/>
                <c:pt idx="0">
                  <c:v>Gillette</c:v>
                </c:pt>
                <c:pt idx="1">
                  <c:v>Gillette</c:v>
                </c:pt>
                <c:pt idx="2">
                  <c:v>Gillette</c:v>
                </c:pt>
                <c:pt idx="3">
                  <c:v>Gillette</c:v>
                </c:pt>
                <c:pt idx="4">
                  <c:v>Equate</c:v>
                </c:pt>
                <c:pt idx="5">
                  <c:v>Gillette</c:v>
                </c:pt>
                <c:pt idx="6">
                  <c:v>Gillette</c:v>
                </c:pt>
                <c:pt idx="7">
                  <c:v>Gillette</c:v>
                </c:pt>
                <c:pt idx="8">
                  <c:v>Bic</c:v>
                </c:pt>
                <c:pt idx="9">
                  <c:v>Gillette</c:v>
                </c:pt>
                <c:pt idx="10">
                  <c:v>Schick</c:v>
                </c:pt>
                <c:pt idx="11">
                  <c:v>Gillette</c:v>
                </c:pt>
                <c:pt idx="12">
                  <c:v>Gillette</c:v>
                </c:pt>
                <c:pt idx="13">
                  <c:v>Schick</c:v>
                </c:pt>
                <c:pt idx="14">
                  <c:v>Gillette</c:v>
                </c:pt>
                <c:pt idx="15">
                  <c:v>Gillette</c:v>
                </c:pt>
                <c:pt idx="16">
                  <c:v>Equate</c:v>
                </c:pt>
                <c:pt idx="17">
                  <c:v>Gillette</c:v>
                </c:pt>
                <c:pt idx="18">
                  <c:v>Gillette</c:v>
                </c:pt>
                <c:pt idx="19">
                  <c:v>Schick</c:v>
                </c:pt>
                <c:pt idx="20">
                  <c:v>Bic</c:v>
                </c:pt>
                <c:pt idx="21">
                  <c:v>Equate</c:v>
                </c:pt>
                <c:pt idx="22">
                  <c:v>Bic</c:v>
                </c:pt>
                <c:pt idx="23">
                  <c:v>Bic</c:v>
                </c:pt>
                <c:pt idx="24">
                  <c:v>Equate</c:v>
                </c:pt>
                <c:pt idx="25">
                  <c:v>Schick</c:v>
                </c:pt>
                <c:pt idx="26">
                  <c:v>Gillette</c:v>
                </c:pt>
                <c:pt idx="27">
                  <c:v>Equate</c:v>
                </c:pt>
                <c:pt idx="28">
                  <c:v>Bic</c:v>
                </c:pt>
                <c:pt idx="29">
                  <c:v>Bic</c:v>
                </c:pt>
                <c:pt idx="30">
                  <c:v>Gillette</c:v>
                </c:pt>
                <c:pt idx="31">
                  <c:v>Bic</c:v>
                </c:pt>
                <c:pt idx="32">
                  <c:v>Bic</c:v>
                </c:pt>
                <c:pt idx="33">
                  <c:v>Equate</c:v>
                </c:pt>
                <c:pt idx="34">
                  <c:v>Bic</c:v>
                </c:pt>
                <c:pt idx="35">
                  <c:v>Gillette</c:v>
                </c:pt>
                <c:pt idx="36">
                  <c:v>Gillette</c:v>
                </c:pt>
                <c:pt idx="37">
                  <c:v>Gillette</c:v>
                </c:pt>
                <c:pt idx="38">
                  <c:v>Bic</c:v>
                </c:pt>
                <c:pt idx="39">
                  <c:v>Schick</c:v>
                </c:pt>
                <c:pt idx="40">
                  <c:v>Bic</c:v>
                </c:pt>
                <c:pt idx="41">
                  <c:v>Schick</c:v>
                </c:pt>
                <c:pt idx="42">
                  <c:v>Schick</c:v>
                </c:pt>
                <c:pt idx="43">
                  <c:v>Gillette</c:v>
                </c:pt>
                <c:pt idx="44">
                  <c:v>Gillette</c:v>
                </c:pt>
                <c:pt idx="45">
                  <c:v>Bic</c:v>
                </c:pt>
                <c:pt idx="46">
                  <c:v>Bic</c:v>
                </c:pt>
                <c:pt idx="47">
                  <c:v>Harry's</c:v>
                </c:pt>
                <c:pt idx="48">
                  <c:v>Harry's</c:v>
                </c:pt>
                <c:pt idx="49">
                  <c:v>Schick</c:v>
                </c:pt>
                <c:pt idx="50">
                  <c:v>Gillette</c:v>
                </c:pt>
                <c:pt idx="51">
                  <c:v>Bic</c:v>
                </c:pt>
                <c:pt idx="52">
                  <c:v>Bic</c:v>
                </c:pt>
              </c:strCache>
            </c:strRef>
          </c:cat>
          <c:val>
            <c:numRef>
              <c:f>Sheet1!$C$2:$C$54</c:f>
              <c:numCache>
                <c:formatCode>General</c:formatCode>
                <c:ptCount val="53"/>
                <c:pt idx="0">
                  <c:v>7.3717593719280022E-2</c:v>
                </c:pt>
                <c:pt idx="1">
                  <c:v>0.12889610252734976</c:v>
                </c:pt>
                <c:pt idx="2">
                  <c:v>0.18048362463615092</c:v>
                </c:pt>
                <c:pt idx="3">
                  <c:v>0.23044884459357171</c:v>
                </c:pt>
                <c:pt idx="4">
                  <c:v>0.27695591270305125</c:v>
                </c:pt>
                <c:pt idx="5">
                  <c:v>0.32044395814130855</c:v>
                </c:pt>
                <c:pt idx="6">
                  <c:v>0.35709418972082069</c:v>
                </c:pt>
                <c:pt idx="7">
                  <c:v>0.39362193423026881</c:v>
                </c:pt>
                <c:pt idx="8">
                  <c:v>0.42807851283220688</c:v>
                </c:pt>
                <c:pt idx="9">
                  <c:v>0.4618246204376345</c:v>
                </c:pt>
                <c:pt idx="10">
                  <c:v>0.49332541280940345</c:v>
                </c:pt>
                <c:pt idx="11">
                  <c:v>0.5232980295141717</c:v>
                </c:pt>
                <c:pt idx="12">
                  <c:v>0.55239913308588084</c:v>
                </c:pt>
                <c:pt idx="13">
                  <c:v>0.57871315758712738</c:v>
                </c:pt>
                <c:pt idx="14">
                  <c:v>0.60410653615687238</c:v>
                </c:pt>
                <c:pt idx="15">
                  <c:v>0.6289468833057712</c:v>
                </c:pt>
                <c:pt idx="16">
                  <c:v>0.65283446807613665</c:v>
                </c:pt>
                <c:pt idx="17">
                  <c:v>0.6760607912986657</c:v>
                </c:pt>
                <c:pt idx="18">
                  <c:v>0.69904168047967719</c:v>
                </c:pt>
                <c:pt idx="19">
                  <c:v>0.72112637515306099</c:v>
                </c:pt>
                <c:pt idx="20">
                  <c:v>0.74147892789321102</c:v>
                </c:pt>
                <c:pt idx="21">
                  <c:v>0.76116853278042973</c:v>
                </c:pt>
                <c:pt idx="22">
                  <c:v>0.77967289513673455</c:v>
                </c:pt>
                <c:pt idx="23">
                  <c:v>0.79782834563888938</c:v>
                </c:pt>
                <c:pt idx="24">
                  <c:v>0.81596693309009671</c:v>
                </c:pt>
                <c:pt idx="25">
                  <c:v>0.8335488099093421</c:v>
                </c:pt>
                <c:pt idx="26">
                  <c:v>0.85070320838706848</c:v>
                </c:pt>
                <c:pt idx="27">
                  <c:v>0.86785193474765798</c:v>
                </c:pt>
                <c:pt idx="28">
                  <c:v>0.88474863514681401</c:v>
                </c:pt>
                <c:pt idx="29">
                  <c:v>0.90023420478259131</c:v>
                </c:pt>
                <c:pt idx="30">
                  <c:v>0.91570551747529483</c:v>
                </c:pt>
                <c:pt idx="31">
                  <c:v>0.92563931083776807</c:v>
                </c:pt>
                <c:pt idx="32">
                  <c:v>0.93536783488007136</c:v>
                </c:pt>
                <c:pt idx="33">
                  <c:v>0.94480186873264616</c:v>
                </c:pt>
                <c:pt idx="34">
                  <c:v>0.9541147952193253</c:v>
                </c:pt>
                <c:pt idx="35">
                  <c:v>0.9613453648646838</c:v>
                </c:pt>
                <c:pt idx="36">
                  <c:v>0.96685666981571394</c:v>
                </c:pt>
                <c:pt idx="37">
                  <c:v>0.97121730149027241</c:v>
                </c:pt>
                <c:pt idx="38">
                  <c:v>0.97516141580642779</c:v>
                </c:pt>
                <c:pt idx="39">
                  <c:v>0.97841981715087289</c:v>
                </c:pt>
                <c:pt idx="40">
                  <c:v>0.98124667769152529</c:v>
                </c:pt>
                <c:pt idx="41">
                  <c:v>0.98406571990855662</c:v>
                </c:pt>
                <c:pt idx="42">
                  <c:v>0.98685333553064036</c:v>
                </c:pt>
                <c:pt idx="43">
                  <c:v>0.98963681204021881</c:v>
                </c:pt>
                <c:pt idx="44">
                  <c:v>0.99232508896217542</c:v>
                </c:pt>
                <c:pt idx="45">
                  <c:v>0.9945517781895602</c:v>
                </c:pt>
                <c:pt idx="46">
                  <c:v>0.99673056102220781</c:v>
                </c:pt>
                <c:pt idx="47">
                  <c:v>0.99811386775152322</c:v>
                </c:pt>
                <c:pt idx="48">
                  <c:v>0.99937200465266929</c:v>
                </c:pt>
                <c:pt idx="49">
                  <c:v>0.99963997386227121</c:v>
                </c:pt>
                <c:pt idx="50">
                  <c:v>0.99983251924399896</c:v>
                </c:pt>
                <c:pt idx="51">
                  <c:v>0.9999471113402103</c:v>
                </c:pt>
                <c:pt idx="52">
                  <c:v>0.999967576952042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strCache>
            </c:strRef>
          </c:cat>
          <c:val>
            <c:numRef>
              <c:f>Sheet1!$B$2:$B$53</c:f>
              <c:numCache>
                <c:formatCode>General</c:formatCode>
                <c:ptCount val="52"/>
                <c:pt idx="0">
                  <c:v>0.73</c:v>
                </c:pt>
                <c:pt idx="1">
                  <c:v>0.9</c:v>
                </c:pt>
                <c:pt idx="2">
                  <c:v>0.8</c:v>
                </c:pt>
                <c:pt idx="3">
                  <c:v>0.91</c:v>
                </c:pt>
                <c:pt idx="4">
                  <c:v>0.87</c:v>
                </c:pt>
                <c:pt idx="5">
                  <c:v>0.56000000000000005</c:v>
                </c:pt>
                <c:pt idx="6">
                  <c:v>0.81</c:v>
                </c:pt>
                <c:pt idx="7">
                  <c:v>0.94</c:v>
                </c:pt>
                <c:pt idx="8">
                  <c:v>0.77</c:v>
                </c:pt>
                <c:pt idx="9">
                  <c:v>0.65</c:v>
                </c:pt>
                <c:pt idx="10">
                  <c:v>0.45</c:v>
                </c:pt>
                <c:pt idx="11">
                  <c:v>0.73</c:v>
                </c:pt>
                <c:pt idx="12">
                  <c:v>0.85</c:v>
                </c:pt>
                <c:pt idx="13">
                  <c:v>0.95</c:v>
                </c:pt>
                <c:pt idx="14">
                  <c:v>0.81</c:v>
                </c:pt>
                <c:pt idx="15">
                  <c:v>0.51</c:v>
                </c:pt>
                <c:pt idx="16">
                  <c:v>0.7</c:v>
                </c:pt>
                <c:pt idx="17">
                  <c:v>0.31</c:v>
                </c:pt>
                <c:pt idx="18">
                  <c:v>0.56999999999999995</c:v>
                </c:pt>
                <c:pt idx="19">
                  <c:v>0.62</c:v>
                </c:pt>
                <c:pt idx="20">
                  <c:v>0.82</c:v>
                </c:pt>
                <c:pt idx="21">
                  <c:v>0.45</c:v>
                </c:pt>
                <c:pt idx="22">
                  <c:v>0.65</c:v>
                </c:pt>
                <c:pt idx="23">
                  <c:v>0.74</c:v>
                </c:pt>
                <c:pt idx="24">
                  <c:v>0.39</c:v>
                </c:pt>
                <c:pt idx="25">
                  <c:v>0.95</c:v>
                </c:pt>
                <c:pt idx="26">
                  <c:v>0.23</c:v>
                </c:pt>
                <c:pt idx="27">
                  <c:v>0.57999999999999996</c:v>
                </c:pt>
                <c:pt idx="28">
                  <c:v>0.3</c:v>
                </c:pt>
                <c:pt idx="29">
                  <c:v>0.32</c:v>
                </c:pt>
                <c:pt idx="30">
                  <c:v>0.48</c:v>
                </c:pt>
                <c:pt idx="31">
                  <c:v>0.44</c:v>
                </c:pt>
                <c:pt idx="32">
                  <c:v>0.41</c:v>
                </c:pt>
                <c:pt idx="33">
                  <c:v>0.4</c:v>
                </c:pt>
                <c:pt idx="34">
                  <c:v>0.71</c:v>
                </c:pt>
                <c:pt idx="35">
                  <c:v>0.38</c:v>
                </c:pt>
                <c:pt idx="36">
                  <c:v>0.61</c:v>
                </c:pt>
                <c:pt idx="37">
                  <c:v>0.53</c:v>
                </c:pt>
                <c:pt idx="38">
                  <c:v>0.24</c:v>
                </c:pt>
                <c:pt idx="39">
                  <c:v>0.11</c:v>
                </c:pt>
                <c:pt idx="40">
                  <c:v>0.37</c:v>
                </c:pt>
                <c:pt idx="41">
                  <c:v>0.11</c:v>
                </c:pt>
                <c:pt idx="42">
                  <c:v>0.33</c:v>
                </c:pt>
                <c:pt idx="43">
                  <c:v>0.24</c:v>
                </c:pt>
                <c:pt idx="44">
                  <c:v>0.34</c:v>
                </c:pt>
                <c:pt idx="45">
                  <c:v>0.22</c:v>
                </c:pt>
                <c:pt idx="46">
                  <c:v>0.01</c:v>
                </c:pt>
                <c:pt idx="47">
                  <c:v>0.05</c:v>
                </c:pt>
                <c:pt idx="48">
                  <c:v>0.05</c:v>
                </c:pt>
                <c:pt idx="49">
                  <c:v>0.16</c:v>
                </c:pt>
                <c:pt idx="50">
                  <c:v>0.06</c:v>
                </c:pt>
                <c:pt idx="5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Gillette</c:v>
                </c:pt>
                <c:pt idx="1">
                  <c:v>Gillette</c:v>
                </c:pt>
                <c:pt idx="2">
                  <c:v>Gillette</c:v>
                </c:pt>
                <c:pt idx="3">
                  <c:v>Equate</c:v>
                </c:pt>
                <c:pt idx="4">
                  <c:v>Gillette</c:v>
                </c:pt>
                <c:pt idx="5">
                  <c:v>Gillette</c:v>
                </c:pt>
                <c:pt idx="6">
                  <c:v>Gillette</c:v>
                </c:pt>
                <c:pt idx="7">
                  <c:v>Bic</c:v>
                </c:pt>
                <c:pt idx="8">
                  <c:v>Schick</c:v>
                </c:pt>
                <c:pt idx="9">
                  <c:v>Schick</c:v>
                </c:pt>
                <c:pt idx="10">
                  <c:v>Gillette</c:v>
                </c:pt>
                <c:pt idx="11">
                  <c:v>Gillette</c:v>
                </c:pt>
                <c:pt idx="12">
                  <c:v>Bic</c:v>
                </c:pt>
                <c:pt idx="13">
                  <c:v>Equate</c:v>
                </c:pt>
                <c:pt idx="14">
                  <c:v>Schick</c:v>
                </c:pt>
                <c:pt idx="15">
                  <c:v>Gillette</c:v>
                </c:pt>
                <c:pt idx="16">
                  <c:v>Bic</c:v>
                </c:pt>
                <c:pt idx="17">
                  <c:v>Gillette</c:v>
                </c:pt>
                <c:pt idx="18">
                  <c:v>Gillette</c:v>
                </c:pt>
                <c:pt idx="19">
                  <c:v>Bic</c:v>
                </c:pt>
                <c:pt idx="20">
                  <c:v>Equate</c:v>
                </c:pt>
                <c:pt idx="21">
                  <c:v>Gillette</c:v>
                </c:pt>
                <c:pt idx="22">
                  <c:v>Equate</c:v>
                </c:pt>
                <c:pt idx="23">
                  <c:v>Equate</c:v>
                </c:pt>
                <c:pt idx="24">
                  <c:v>Bic</c:v>
                </c:pt>
                <c:pt idx="25">
                  <c:v>Equate</c:v>
                </c:pt>
                <c:pt idx="26">
                  <c:v>Gillette</c:v>
                </c:pt>
                <c:pt idx="27">
                  <c:v>Bic</c:v>
                </c:pt>
                <c:pt idx="28">
                  <c:v>Schick</c:v>
                </c:pt>
                <c:pt idx="29">
                  <c:v>Gillette</c:v>
                </c:pt>
                <c:pt idx="30">
                  <c:v>Bic</c:v>
                </c:pt>
                <c:pt idx="31">
                  <c:v>Gillette</c:v>
                </c:pt>
                <c:pt idx="32">
                  <c:v>Gillette</c:v>
                </c:pt>
                <c:pt idx="33">
                  <c:v>Gillette</c:v>
                </c:pt>
                <c:pt idx="34">
                  <c:v>Schick</c:v>
                </c:pt>
                <c:pt idx="35">
                  <c:v>Bic</c:v>
                </c:pt>
                <c:pt idx="36">
                  <c:v>Schick</c:v>
                </c:pt>
                <c:pt idx="37">
                  <c:v>Bic</c:v>
                </c:pt>
                <c:pt idx="38">
                  <c:v>Gillette</c:v>
                </c:pt>
                <c:pt idx="39">
                  <c:v>Bic</c:v>
                </c:pt>
                <c:pt idx="40">
                  <c:v>Bic</c:v>
                </c:pt>
                <c:pt idx="41">
                  <c:v>Bic</c:v>
                </c:pt>
                <c:pt idx="42">
                  <c:v>Gillette</c:v>
                </c:pt>
                <c:pt idx="43">
                  <c:v>Schick</c:v>
                </c:pt>
                <c:pt idx="44">
                  <c:v>Harry's</c:v>
                </c:pt>
                <c:pt idx="45">
                  <c:v>Harry's</c:v>
                </c:pt>
                <c:pt idx="46">
                  <c:v>Gillette</c:v>
                </c:pt>
                <c:pt idx="47">
                  <c:v>Bic</c:v>
                </c:pt>
                <c:pt idx="48">
                  <c:v>Gillette</c:v>
                </c:pt>
                <c:pt idx="49">
                  <c:v>Gillette</c:v>
                </c:pt>
                <c:pt idx="50">
                  <c:v>Equate</c:v>
                </c:pt>
                <c:pt idx="51">
                  <c:v>Bic</c:v>
                </c:pt>
              </c:strCache>
            </c:strRef>
          </c:cat>
          <c:val>
            <c:numRef>
              <c:f>Sheet1!$C$2:$C$53</c:f>
              <c:numCache>
                <c:formatCode>General</c:formatCode>
                <c:ptCount val="52"/>
                <c:pt idx="0">
                  <c:v>7.1987089545617652E-2</c:v>
                </c:pt>
                <c:pt idx="1">
                  <c:v>0.13260411865714944</c:v>
                </c:pt>
                <c:pt idx="2">
                  <c:v>0.19196969423351884</c:v>
                </c:pt>
                <c:pt idx="3">
                  <c:v>0.24383351693088751</c:v>
                </c:pt>
                <c:pt idx="4">
                  <c:v>0.29362607655821721</c:v>
                </c:pt>
                <c:pt idx="5">
                  <c:v>0.33649417525963421</c:v>
                </c:pt>
                <c:pt idx="6">
                  <c:v>0.37865906130483296</c:v>
                </c:pt>
                <c:pt idx="7">
                  <c:v>0.41803160913899684</c:v>
                </c:pt>
                <c:pt idx="8">
                  <c:v>0.45128880772036223</c:v>
                </c:pt>
                <c:pt idx="9">
                  <c:v>0.4833858281008685</c:v>
                </c:pt>
                <c:pt idx="10">
                  <c:v>0.51496149947511782</c:v>
                </c:pt>
                <c:pt idx="11">
                  <c:v>0.54619837251171666</c:v>
                </c:pt>
                <c:pt idx="12">
                  <c:v>0.5751731875859265</c:v>
                </c:pt>
                <c:pt idx="13">
                  <c:v>0.60390273700376651</c:v>
                </c:pt>
                <c:pt idx="14">
                  <c:v>0.63218493913799978</c:v>
                </c:pt>
                <c:pt idx="15">
                  <c:v>0.66040413184790758</c:v>
                </c:pt>
                <c:pt idx="16">
                  <c:v>0.68557757461218793</c:v>
                </c:pt>
                <c:pt idx="17">
                  <c:v>0.71029307037661982</c:v>
                </c:pt>
                <c:pt idx="18">
                  <c:v>0.73434500427521898</c:v>
                </c:pt>
                <c:pt idx="19">
                  <c:v>0.7575702584524886</c:v>
                </c:pt>
                <c:pt idx="20">
                  <c:v>0.78060854541271762</c:v>
                </c:pt>
                <c:pt idx="21">
                  <c:v>0.80302056580500136</c:v>
                </c:pt>
                <c:pt idx="22">
                  <c:v>0.82521696048818372</c:v>
                </c:pt>
                <c:pt idx="23">
                  <c:v>0.84645270681420426</c:v>
                </c:pt>
                <c:pt idx="24">
                  <c:v>0.86287274687327997</c:v>
                </c:pt>
                <c:pt idx="25">
                  <c:v>0.87897666020999998</c:v>
                </c:pt>
                <c:pt idx="26">
                  <c:v>0.8946596274081966</c:v>
                </c:pt>
                <c:pt idx="27">
                  <c:v>0.90963378765549185</c:v>
                </c:pt>
                <c:pt idx="28">
                  <c:v>0.92394320829070542</c:v>
                </c:pt>
                <c:pt idx="29">
                  <c:v>0.93702855799104756</c:v>
                </c:pt>
                <c:pt idx="30">
                  <c:v>0.9484592723569607</c:v>
                </c:pt>
                <c:pt idx="31">
                  <c:v>0.95539786623786227</c:v>
                </c:pt>
                <c:pt idx="32">
                  <c:v>0.9612530317151361</c:v>
                </c:pt>
                <c:pt idx="33">
                  <c:v>0.96583407204195282</c:v>
                </c:pt>
                <c:pt idx="34">
                  <c:v>0.96957214049099449</c:v>
                </c:pt>
                <c:pt idx="35">
                  <c:v>0.97328792990682456</c:v>
                </c:pt>
                <c:pt idx="36">
                  <c:v>0.97693747109614415</c:v>
                </c:pt>
                <c:pt idx="37">
                  <c:v>0.98041290213164223</c:v>
                </c:pt>
                <c:pt idx="38">
                  <c:v>0.9838126629706373</c:v>
                </c:pt>
                <c:pt idx="39">
                  <c:v>0.98640448988276719</c:v>
                </c:pt>
                <c:pt idx="40">
                  <c:v>0.98879688509672048</c:v>
                </c:pt>
                <c:pt idx="41">
                  <c:v>0.99114874621060145</c:v>
                </c:pt>
                <c:pt idx="42">
                  <c:v>0.99329047776454338</c:v>
                </c:pt>
                <c:pt idx="43">
                  <c:v>0.99504188458243792</c:v>
                </c:pt>
                <c:pt idx="44">
                  <c:v>0.99648550704724093</c:v>
                </c:pt>
                <c:pt idx="45">
                  <c:v>0.9976779751244288</c:v>
                </c:pt>
                <c:pt idx="46">
                  <c:v>0.99872518783089748</c:v>
                </c:pt>
                <c:pt idx="47">
                  <c:v>0.99918539217772329</c:v>
                </c:pt>
                <c:pt idx="48">
                  <c:v>0.99956727639898568</c:v>
                </c:pt>
                <c:pt idx="49">
                  <c:v>0.99975807129133576</c:v>
                </c:pt>
                <c:pt idx="50">
                  <c:v>0.99986976089395629</c:v>
                </c:pt>
                <c:pt idx="51">
                  <c:v>0.999972028526584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3</c:f>
              <c:strCache>
                <c:ptCount val="52"/>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strCache>
            </c:strRef>
          </c:cat>
          <c:val>
            <c:numRef>
              <c:f>Sheet1!$B$2:$B$53</c:f>
              <c:numCache>
                <c:formatCode>General</c:formatCode>
                <c:ptCount val="52"/>
                <c:pt idx="0">
                  <c:v>0.92</c:v>
                </c:pt>
                <c:pt idx="1">
                  <c:v>0.99</c:v>
                </c:pt>
                <c:pt idx="2">
                  <c:v>0.98</c:v>
                </c:pt>
                <c:pt idx="3">
                  <c:v>0.95</c:v>
                </c:pt>
                <c:pt idx="4">
                  <c:v>0.87</c:v>
                </c:pt>
                <c:pt idx="5">
                  <c:v>0.97</c:v>
                </c:pt>
                <c:pt idx="6">
                  <c:v>0.96</c:v>
                </c:pt>
                <c:pt idx="7">
                  <c:v>0.83</c:v>
                </c:pt>
                <c:pt idx="8">
                  <c:v>0.99</c:v>
                </c:pt>
                <c:pt idx="9">
                  <c:v>0.68</c:v>
                </c:pt>
                <c:pt idx="10">
                  <c:v>0.95</c:v>
                </c:pt>
                <c:pt idx="11">
                  <c:v>0.87</c:v>
                </c:pt>
                <c:pt idx="12">
                  <c:v>0.96</c:v>
                </c:pt>
                <c:pt idx="13">
                  <c:v>0.81</c:v>
                </c:pt>
                <c:pt idx="14">
                  <c:v>0.63</c:v>
                </c:pt>
                <c:pt idx="15">
                  <c:v>0.99</c:v>
                </c:pt>
                <c:pt idx="16">
                  <c:v>0.84</c:v>
                </c:pt>
                <c:pt idx="17">
                  <c:v>0.81</c:v>
                </c:pt>
                <c:pt idx="18">
                  <c:v>0.9</c:v>
                </c:pt>
                <c:pt idx="19">
                  <c:v>0.93</c:v>
                </c:pt>
                <c:pt idx="20">
                  <c:v>0.9</c:v>
                </c:pt>
                <c:pt idx="21">
                  <c:v>0.97</c:v>
                </c:pt>
                <c:pt idx="22">
                  <c:v>0.67</c:v>
                </c:pt>
                <c:pt idx="23">
                  <c:v>0.65</c:v>
                </c:pt>
                <c:pt idx="24">
                  <c:v>0.91</c:v>
                </c:pt>
                <c:pt idx="25">
                  <c:v>0.95</c:v>
                </c:pt>
                <c:pt idx="26">
                  <c:v>0.96</c:v>
                </c:pt>
                <c:pt idx="27">
                  <c:v>0.73</c:v>
                </c:pt>
                <c:pt idx="28">
                  <c:v>0.9</c:v>
                </c:pt>
                <c:pt idx="29">
                  <c:v>0.64</c:v>
                </c:pt>
                <c:pt idx="30">
                  <c:v>0.67</c:v>
                </c:pt>
                <c:pt idx="31">
                  <c:v>0.83</c:v>
                </c:pt>
                <c:pt idx="32">
                  <c:v>0.87</c:v>
                </c:pt>
                <c:pt idx="33">
                  <c:v>0.98</c:v>
                </c:pt>
                <c:pt idx="34">
                  <c:v>0.8</c:v>
                </c:pt>
                <c:pt idx="35">
                  <c:v>0.87</c:v>
                </c:pt>
                <c:pt idx="36">
                  <c:v>0.69</c:v>
                </c:pt>
                <c:pt idx="37">
                  <c:v>0.74</c:v>
                </c:pt>
                <c:pt idx="38">
                  <c:v>0.52</c:v>
                </c:pt>
                <c:pt idx="39">
                  <c:v>0.78</c:v>
                </c:pt>
                <c:pt idx="40">
                  <c:v>0.56000000000000005</c:v>
                </c:pt>
                <c:pt idx="41">
                  <c:v>0.86</c:v>
                </c:pt>
                <c:pt idx="42">
                  <c:v>0.91</c:v>
                </c:pt>
                <c:pt idx="43">
                  <c:v>0.84</c:v>
                </c:pt>
                <c:pt idx="44">
                  <c:v>0.61</c:v>
                </c:pt>
                <c:pt idx="45">
                  <c:v>0.66</c:v>
                </c:pt>
                <c:pt idx="46">
                  <c:v>0.75</c:v>
                </c:pt>
                <c:pt idx="47">
                  <c:v>0.53</c:v>
                </c:pt>
                <c:pt idx="48">
                  <c:v>0.56000000000000005</c:v>
                </c:pt>
                <c:pt idx="49">
                  <c:v>0.68</c:v>
                </c:pt>
                <c:pt idx="50">
                  <c:v>0.55000000000000004</c:v>
                </c:pt>
                <c:pt idx="51">
                  <c:v>0.3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3</c:f>
              <c:strCache>
                <c:ptCount val="52"/>
                <c:pt idx="0">
                  <c:v>Gillette</c:v>
                </c:pt>
                <c:pt idx="1">
                  <c:v>Equate</c:v>
                </c:pt>
                <c:pt idx="2">
                  <c:v>Gillette</c:v>
                </c:pt>
                <c:pt idx="3">
                  <c:v>Gillette</c:v>
                </c:pt>
                <c:pt idx="4">
                  <c:v>Gillette</c:v>
                </c:pt>
                <c:pt idx="5">
                  <c:v>Gillette</c:v>
                </c:pt>
                <c:pt idx="6">
                  <c:v>Gillette</c:v>
                </c:pt>
                <c:pt idx="7">
                  <c:v>Gillette</c:v>
                </c:pt>
                <c:pt idx="8">
                  <c:v>Bic</c:v>
                </c:pt>
                <c:pt idx="9">
                  <c:v>Gillette</c:v>
                </c:pt>
                <c:pt idx="10">
                  <c:v>Schick</c:v>
                </c:pt>
                <c:pt idx="11">
                  <c:v>Schick</c:v>
                </c:pt>
                <c:pt idx="12">
                  <c:v>Schick</c:v>
                </c:pt>
                <c:pt idx="13">
                  <c:v>Gillette</c:v>
                </c:pt>
                <c:pt idx="14">
                  <c:v>Gillette</c:v>
                </c:pt>
                <c:pt idx="15">
                  <c:v>Equate</c:v>
                </c:pt>
                <c:pt idx="16">
                  <c:v>Gillette</c:v>
                </c:pt>
                <c:pt idx="17">
                  <c:v>Bic</c:v>
                </c:pt>
                <c:pt idx="18">
                  <c:v>Gillette</c:v>
                </c:pt>
                <c:pt idx="19">
                  <c:v>Equate</c:v>
                </c:pt>
                <c:pt idx="20">
                  <c:v>Bic</c:v>
                </c:pt>
                <c:pt idx="21">
                  <c:v>Equate</c:v>
                </c:pt>
                <c:pt idx="22">
                  <c:v>Gillette</c:v>
                </c:pt>
                <c:pt idx="23">
                  <c:v>Gillette</c:v>
                </c:pt>
                <c:pt idx="24">
                  <c:v>Bic</c:v>
                </c:pt>
                <c:pt idx="25">
                  <c:v>Equate</c:v>
                </c:pt>
                <c:pt idx="26">
                  <c:v>Bic</c:v>
                </c:pt>
                <c:pt idx="27">
                  <c:v>Schick</c:v>
                </c:pt>
                <c:pt idx="28">
                  <c:v>Bic</c:v>
                </c:pt>
                <c:pt idx="29">
                  <c:v>Gillette</c:v>
                </c:pt>
                <c:pt idx="30">
                  <c:v>Gillette</c:v>
                </c:pt>
                <c:pt idx="31">
                  <c:v>Bic</c:v>
                </c:pt>
                <c:pt idx="32">
                  <c:v>Bic</c:v>
                </c:pt>
                <c:pt idx="33">
                  <c:v>Equate</c:v>
                </c:pt>
                <c:pt idx="34">
                  <c:v>Bic</c:v>
                </c:pt>
                <c:pt idx="35">
                  <c:v>Schick</c:v>
                </c:pt>
                <c:pt idx="36">
                  <c:v>Gillette</c:v>
                </c:pt>
                <c:pt idx="37">
                  <c:v>Gillette</c:v>
                </c:pt>
                <c:pt idx="38">
                  <c:v>Bic</c:v>
                </c:pt>
                <c:pt idx="39">
                  <c:v>Bic</c:v>
                </c:pt>
                <c:pt idx="40">
                  <c:v>Gillette</c:v>
                </c:pt>
                <c:pt idx="41">
                  <c:v>Schick</c:v>
                </c:pt>
                <c:pt idx="42">
                  <c:v>Schick</c:v>
                </c:pt>
                <c:pt idx="43">
                  <c:v>Bic</c:v>
                </c:pt>
                <c:pt idx="44">
                  <c:v>Gillette</c:v>
                </c:pt>
                <c:pt idx="45">
                  <c:v>Schick</c:v>
                </c:pt>
                <c:pt idx="46">
                  <c:v>Bic</c:v>
                </c:pt>
                <c:pt idx="47">
                  <c:v>Bic</c:v>
                </c:pt>
                <c:pt idx="48">
                  <c:v>Gillette</c:v>
                </c:pt>
                <c:pt idx="49">
                  <c:v>Harry's</c:v>
                </c:pt>
                <c:pt idx="50">
                  <c:v>Harry's</c:v>
                </c:pt>
                <c:pt idx="51">
                  <c:v>Gillette</c:v>
                </c:pt>
              </c:strCache>
            </c:strRef>
          </c:cat>
          <c:val>
            <c:numRef>
              <c:f>Sheet1!$C$2:$C$53</c:f>
              <c:numCache>
                <c:formatCode>General</c:formatCode>
                <c:ptCount val="52"/>
                <c:pt idx="0">
                  <c:v>6.706344494347008E-2</c:v>
                </c:pt>
                <c:pt idx="1">
                  <c:v>0.12204378581667386</c:v>
                </c:pt>
                <c:pt idx="2">
                  <c:v>0.17611620993744068</c:v>
                </c:pt>
                <c:pt idx="3">
                  <c:v>0.22117284733140821</c:v>
                </c:pt>
                <c:pt idx="4">
                  <c:v>0.26365573785436502</c:v>
                </c:pt>
                <c:pt idx="5">
                  <c:v>0.30105600954801648</c:v>
                </c:pt>
                <c:pt idx="6">
                  <c:v>0.3364505724081438</c:v>
                </c:pt>
                <c:pt idx="7">
                  <c:v>0.37166420297665409</c:v>
                </c:pt>
                <c:pt idx="8">
                  <c:v>0.40660910213936424</c:v>
                </c:pt>
                <c:pt idx="9">
                  <c:v>0.43855633715261161</c:v>
                </c:pt>
                <c:pt idx="10">
                  <c:v>0.46878040988977476</c:v>
                </c:pt>
                <c:pt idx="11">
                  <c:v>0.49570148485957183</c:v>
                </c:pt>
                <c:pt idx="12">
                  <c:v>0.52078206259766469</c:v>
                </c:pt>
                <c:pt idx="13">
                  <c:v>0.54585844670822214</c:v>
                </c:pt>
                <c:pt idx="14">
                  <c:v>0.57062181730466688</c:v>
                </c:pt>
                <c:pt idx="15">
                  <c:v>0.59405974897176539</c:v>
                </c:pt>
                <c:pt idx="16">
                  <c:v>0.61697471868392206</c:v>
                </c:pt>
                <c:pt idx="17">
                  <c:v>0.63979594169310183</c:v>
                </c:pt>
                <c:pt idx="18">
                  <c:v>0.66248882237662476</c:v>
                </c:pt>
                <c:pt idx="19">
                  <c:v>0.68510740150791138</c:v>
                </c:pt>
                <c:pt idx="20">
                  <c:v>0.70763582125616109</c:v>
                </c:pt>
                <c:pt idx="21">
                  <c:v>0.73006990964768115</c:v>
                </c:pt>
                <c:pt idx="22">
                  <c:v>0.75101599649479134</c:v>
                </c:pt>
                <c:pt idx="23">
                  <c:v>0.77177133464159586</c:v>
                </c:pt>
                <c:pt idx="24">
                  <c:v>0.7920523237103102</c:v>
                </c:pt>
                <c:pt idx="25">
                  <c:v>0.8122716137632372</c:v>
                </c:pt>
                <c:pt idx="26">
                  <c:v>0.83221249314267909</c:v>
                </c:pt>
                <c:pt idx="27">
                  <c:v>0.85120037968713935</c:v>
                </c:pt>
                <c:pt idx="28">
                  <c:v>0.86770099037241999</c:v>
                </c:pt>
                <c:pt idx="29">
                  <c:v>0.8831374951379003</c:v>
                </c:pt>
                <c:pt idx="30">
                  <c:v>0.89741821161360691</c:v>
                </c:pt>
                <c:pt idx="31">
                  <c:v>0.90948615077603878</c:v>
                </c:pt>
                <c:pt idx="32">
                  <c:v>0.92016771709577894</c:v>
                </c:pt>
                <c:pt idx="33">
                  <c:v>0.93074746704716427</c:v>
                </c:pt>
                <c:pt idx="34">
                  <c:v>0.93998190705955631</c:v>
                </c:pt>
                <c:pt idx="35">
                  <c:v>0.94814353630738435</c:v>
                </c:pt>
                <c:pt idx="36">
                  <c:v>0.95404718223633667</c:v>
                </c:pt>
                <c:pt idx="37">
                  <c:v>0.95919445943993109</c:v>
                </c:pt>
                <c:pt idx="38">
                  <c:v>0.96432901861991571</c:v>
                </c:pt>
                <c:pt idx="39">
                  <c:v>0.96872008589299874</c:v>
                </c:pt>
                <c:pt idx="40">
                  <c:v>0.97236255817025163</c:v>
                </c:pt>
                <c:pt idx="41">
                  <c:v>0.97593201368993487</c:v>
                </c:pt>
                <c:pt idx="42">
                  <c:v>0.9792812929370891</c:v>
                </c:pt>
                <c:pt idx="43">
                  <c:v>0.98259285119026751</c:v>
                </c:pt>
                <c:pt idx="44">
                  <c:v>0.98564991183024442</c:v>
                </c:pt>
                <c:pt idx="45">
                  <c:v>0.98857860849072166</c:v>
                </c:pt>
                <c:pt idx="46">
                  <c:v>0.99143132181717997</c:v>
                </c:pt>
                <c:pt idx="47">
                  <c:v>0.99389722533361891</c:v>
                </c:pt>
                <c:pt idx="48">
                  <c:v>0.99636074692736132</c:v>
                </c:pt>
                <c:pt idx="49">
                  <c:v>0.99816340045998109</c:v>
                </c:pt>
                <c:pt idx="50">
                  <c:v>0.99973720174709846</c:v>
                </c:pt>
                <c:pt idx="51">
                  <c:v>0.999921930679134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Schick</c:v>
                </c:pt>
              </c:strCache>
            </c:strRef>
          </c:cat>
          <c:val>
            <c:numRef>
              <c:f>Sheet1!$B$2:$B$41</c:f>
              <c:numCache>
                <c:formatCode>General</c:formatCode>
                <c:ptCount val="40"/>
                <c:pt idx="0">
                  <c:v>0.92900000000000005</c:v>
                </c:pt>
                <c:pt idx="1">
                  <c:v>0.94899999999999995</c:v>
                </c:pt>
                <c:pt idx="2">
                  <c:v>0.83799999999999997</c:v>
                </c:pt>
                <c:pt idx="3">
                  <c:v>0.84899999999999998</c:v>
                </c:pt>
                <c:pt idx="4">
                  <c:v>0.89700000000000002</c:v>
                </c:pt>
                <c:pt idx="5">
                  <c:v>0.92100000000000004</c:v>
                </c:pt>
                <c:pt idx="6">
                  <c:v>0.63200000000000001</c:v>
                </c:pt>
                <c:pt idx="7">
                  <c:v>0.73799999999999999</c:v>
                </c:pt>
                <c:pt idx="8">
                  <c:v>0.89100000000000001</c:v>
                </c:pt>
                <c:pt idx="9">
                  <c:v>0.85199999999999998</c:v>
                </c:pt>
                <c:pt idx="10">
                  <c:v>0.83399999999999996</c:v>
                </c:pt>
                <c:pt idx="11">
                  <c:v>0.66600000000000004</c:v>
                </c:pt>
                <c:pt idx="12">
                  <c:v>0.60699999999999998</c:v>
                </c:pt>
                <c:pt idx="13">
                  <c:v>0.61299999999999999</c:v>
                </c:pt>
                <c:pt idx="14">
                  <c:v>0.751</c:v>
                </c:pt>
                <c:pt idx="15">
                  <c:v>0.65100000000000002</c:v>
                </c:pt>
                <c:pt idx="16">
                  <c:v>0.52600000000000002</c:v>
                </c:pt>
                <c:pt idx="17">
                  <c:v>0.77700000000000002</c:v>
                </c:pt>
                <c:pt idx="18">
                  <c:v>0.38500000000000001</c:v>
                </c:pt>
                <c:pt idx="19">
                  <c:v>0.46600000000000003</c:v>
                </c:pt>
                <c:pt idx="20">
                  <c:v>0.79300000000000004</c:v>
                </c:pt>
                <c:pt idx="21">
                  <c:v>0.23599999999999999</c:v>
                </c:pt>
                <c:pt idx="22">
                  <c:v>0.57299999999999995</c:v>
                </c:pt>
                <c:pt idx="23">
                  <c:v>0.433</c:v>
                </c:pt>
                <c:pt idx="24">
                  <c:v>0.28699999999999998</c:v>
                </c:pt>
                <c:pt idx="25">
                  <c:v>0.7</c:v>
                </c:pt>
                <c:pt idx="26">
                  <c:v>0.73299999999999998</c:v>
                </c:pt>
                <c:pt idx="27">
                  <c:v>0.61199999999999999</c:v>
                </c:pt>
                <c:pt idx="28">
                  <c:v>0.35</c:v>
                </c:pt>
                <c:pt idx="29">
                  <c:v>0.42899999999999999</c:v>
                </c:pt>
                <c:pt idx="30">
                  <c:v>0.63</c:v>
                </c:pt>
                <c:pt idx="31">
                  <c:v>0.3</c:v>
                </c:pt>
                <c:pt idx="32">
                  <c:v>0.32300000000000001</c:v>
                </c:pt>
                <c:pt idx="33">
                  <c:v>0.38600000000000001</c:v>
                </c:pt>
                <c:pt idx="34">
                  <c:v>0.17499999999999999</c:v>
                </c:pt>
                <c:pt idx="35">
                  <c:v>5.6000000000000001E-2</c:v>
                </c:pt>
                <c:pt idx="36">
                  <c:v>0.11700000000000001</c:v>
                </c:pt>
                <c:pt idx="37">
                  <c:v>0.01</c:v>
                </c:pt>
                <c:pt idx="38">
                  <c:v>1E-3</c:v>
                </c:pt>
                <c:pt idx="39">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Gillette</c:v>
                </c:pt>
                <c:pt idx="19">
                  <c:v>Gillette</c:v>
                </c:pt>
                <c:pt idx="20">
                  <c:v>Schick</c:v>
                </c:pt>
                <c:pt idx="21">
                  <c:v>Harry's</c:v>
                </c:pt>
                <c:pt idx="22">
                  <c:v>Gillette</c:v>
                </c:pt>
                <c:pt idx="23">
                  <c:v>Gillette</c:v>
                </c:pt>
                <c:pt idx="24">
                  <c:v>Gillette</c:v>
                </c:pt>
                <c:pt idx="25">
                  <c:v>Harry's</c:v>
                </c:pt>
                <c:pt idx="26">
                  <c:v>Gillette</c:v>
                </c:pt>
                <c:pt idx="27">
                  <c:v>Gillette</c:v>
                </c:pt>
                <c:pt idx="28">
                  <c:v>Gillette</c:v>
                </c:pt>
                <c:pt idx="29">
                  <c:v>Gillette</c:v>
                </c:pt>
                <c:pt idx="30">
                  <c:v>Dollar Shav</c:v>
                </c:pt>
                <c:pt idx="31">
                  <c:v>Gillette</c:v>
                </c:pt>
                <c:pt idx="32">
                  <c:v>Gillette</c:v>
                </c:pt>
                <c:pt idx="33">
                  <c:v>Gillette</c:v>
                </c:pt>
                <c:pt idx="34">
                  <c:v>Gillette</c:v>
                </c:pt>
                <c:pt idx="35">
                  <c:v>Schick</c:v>
                </c:pt>
                <c:pt idx="36">
                  <c:v>Cremo</c:v>
                </c:pt>
                <c:pt idx="37">
                  <c:v>Harry's</c:v>
                </c:pt>
                <c:pt idx="38">
                  <c:v>Harry's</c:v>
                </c:pt>
                <c:pt idx="39">
                  <c:v>Schick</c:v>
                </c:pt>
              </c:strCache>
            </c:strRef>
          </c:cat>
          <c:val>
            <c:numRef>
              <c:f>Sheet1!$C$2:$C$41</c:f>
              <c:numCache>
                <c:formatCode>General</c:formatCode>
                <c:ptCount val="40"/>
                <c:pt idx="0">
                  <c:v>0.12308699612575454</c:v>
                </c:pt>
                <c:pt idx="1">
                  <c:v>0.22169717203232286</c:v>
                </c:pt>
                <c:pt idx="2">
                  <c:v>0.30000944583341527</c:v>
                </c:pt>
                <c:pt idx="3">
                  <c:v>0.36978396190527002</c:v>
                </c:pt>
                <c:pt idx="4">
                  <c:v>0.43435190297926091</c:v>
                </c:pt>
                <c:pt idx="5">
                  <c:v>0.49274297225814329</c:v>
                </c:pt>
                <c:pt idx="6">
                  <c:v>0.53966305087626187</c:v>
                </c:pt>
                <c:pt idx="7">
                  <c:v>0.58532969393137368</c:v>
                </c:pt>
                <c:pt idx="8">
                  <c:v>0.62689415945475413</c:v>
                </c:pt>
                <c:pt idx="9">
                  <c:v>0.66482255153294545</c:v>
                </c:pt>
                <c:pt idx="10">
                  <c:v>0.70223558417355159</c:v>
                </c:pt>
                <c:pt idx="11">
                  <c:v>0.73735143301361306</c:v>
                </c:pt>
                <c:pt idx="12">
                  <c:v>0.76722975076265387</c:v>
                </c:pt>
                <c:pt idx="13">
                  <c:v>0.79383646285775822</c:v>
                </c:pt>
                <c:pt idx="14">
                  <c:v>0.81540937075375897</c:v>
                </c:pt>
                <c:pt idx="15">
                  <c:v>0.83591613335626891</c:v>
                </c:pt>
                <c:pt idx="16">
                  <c:v>0.85357020156841545</c:v>
                </c:pt>
                <c:pt idx="17">
                  <c:v>0.86981971542055392</c:v>
                </c:pt>
                <c:pt idx="18">
                  <c:v>0.88299112873057273</c:v>
                </c:pt>
                <c:pt idx="19">
                  <c:v>0.89579246817083058</c:v>
                </c:pt>
                <c:pt idx="20">
                  <c:v>0.90817189795868603</c:v>
                </c:pt>
                <c:pt idx="21">
                  <c:v>0.91833332866917294</c:v>
                </c:pt>
                <c:pt idx="22">
                  <c:v>0.92831720024479936</c:v>
                </c:pt>
                <c:pt idx="23">
                  <c:v>0.93815069807761842</c:v>
                </c:pt>
                <c:pt idx="24">
                  <c:v>0.94747965793071842</c:v>
                </c:pt>
                <c:pt idx="25">
                  <c:v>0.9562323728809432</c:v>
                </c:pt>
                <c:pt idx="26">
                  <c:v>0.96447282672870649</c:v>
                </c:pt>
                <c:pt idx="27">
                  <c:v>0.9709287031474032</c:v>
                </c:pt>
                <c:pt idx="28">
                  <c:v>0.97642599465734348</c:v>
                </c:pt>
                <c:pt idx="29">
                  <c:v>0.9817577932759548</c:v>
                </c:pt>
                <c:pt idx="30">
                  <c:v>0.9857648310215269</c:v>
                </c:pt>
                <c:pt idx="31">
                  <c:v>0.9896138991059239</c:v>
                </c:pt>
                <c:pt idx="32">
                  <c:v>0.99274882365937389</c:v>
                </c:pt>
                <c:pt idx="33">
                  <c:v>0.99571453005052513</c:v>
                </c:pt>
                <c:pt idx="34">
                  <c:v>0.99789052442620185</c:v>
                </c:pt>
                <c:pt idx="35">
                  <c:v>0.99898025704515059</c:v>
                </c:pt>
                <c:pt idx="36">
                  <c:v>0.99979085783613642</c:v>
                </c:pt>
                <c:pt idx="37">
                  <c:v>0.99983378022653047</c:v>
                </c:pt>
                <c:pt idx="38">
                  <c:v>0.99987092390390786</c:v>
                </c:pt>
                <c:pt idx="39">
                  <c:v>0.9999327634020074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B$2:$B$4</c:f>
              <c:numCache>
                <c:formatCode>General</c:formatCode>
                <c:ptCount val="3"/>
                <c:pt idx="0">
                  <c:v>0.90928863633829238</c:v>
                </c:pt>
                <c:pt idx="1">
                  <c:v>8.9289807892067544E-2</c:v>
                </c:pt>
                <c:pt idx="2">
                  <c:v>1.4215557696400877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C$2:$C$4</c:f>
              <c:numCache>
                <c:formatCode>General</c:formatCode>
                <c:ptCount val="3"/>
                <c:pt idx="0">
                  <c:v>0.79924717691342539</c:v>
                </c:pt>
                <c:pt idx="1">
                  <c:v>0.12421580928481808</c:v>
                </c:pt>
                <c:pt idx="2">
                  <c:v>7.653701380175659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Harry's</c:v>
                </c:pt>
                <c:pt idx="2">
                  <c:v>Others</c:v>
                </c:pt>
              </c:strCache>
            </c:strRef>
          </c:cat>
          <c:val>
            <c:numRef>
              <c:f>Sheet1!$D$2:$D$4</c:f>
              <c:numCache>
                <c:formatCode>General</c:formatCode>
                <c:ptCount val="3"/>
                <c:pt idx="0">
                  <c:v>0.87898071632347219</c:v>
                </c:pt>
                <c:pt idx="1">
                  <c:v>1.3911532818501375</c:v>
                </c:pt>
                <c:pt idx="2">
                  <c:v>53.8403173736436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c:f>
              <c:strCache>
                <c:ptCount val="6"/>
                <c:pt idx="0">
                  <c:v>Gillette</c:v>
                </c:pt>
                <c:pt idx="1">
                  <c:v>Harry's</c:v>
                </c:pt>
                <c:pt idx="2">
                  <c:v>Gillette</c:v>
                </c:pt>
                <c:pt idx="3">
                  <c:v>Gillette</c:v>
                </c:pt>
                <c:pt idx="4">
                  <c:v>Pbg Pl</c:v>
                </c:pt>
                <c:pt idx="5">
                  <c:v>Dollar Shav</c:v>
                </c:pt>
              </c:strCache>
            </c:strRef>
          </c:cat>
          <c:val>
            <c:numRef>
              <c:f>Sheet1!$B$2:$B$7</c:f>
              <c:numCache>
                <c:formatCode>General</c:formatCode>
                <c:ptCount val="6"/>
                <c:pt idx="0">
                  <c:v>0.98</c:v>
                </c:pt>
                <c:pt idx="1">
                  <c:v>0.99</c:v>
                </c:pt>
                <c:pt idx="2">
                  <c:v>0.97</c:v>
                </c:pt>
                <c:pt idx="3">
                  <c:v>0.88</c:v>
                </c:pt>
                <c:pt idx="4">
                  <c:v>0.6</c:v>
                </c:pt>
                <c:pt idx="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AEABAB"/>
              </a:solidFill>
            </c:spPr>
            <c:extLst>
              <c:ext xmlns:c16="http://schemas.microsoft.com/office/drawing/2014/chart" uri="{C3380CC4-5D6E-409C-BE32-E72D297353CC}">
                <c16:uniqueId val="{0000000E-C76F-4230-900D-40618C09729F}"/>
              </c:ext>
            </c:extLst>
          </c:dPt>
          <c:dPt>
            <c:idx val="5"/>
            <c:invertIfNegative val="0"/>
            <c:bubble3D val="0"/>
            <c:spPr>
              <a:solidFill>
                <a:srgbClr val="AEABAB"/>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c:f>
              <c:strCache>
                <c:ptCount val="6"/>
                <c:pt idx="0">
                  <c:v>Gillette</c:v>
                </c:pt>
                <c:pt idx="1">
                  <c:v>Harry's</c:v>
                </c:pt>
                <c:pt idx="2">
                  <c:v>Gillette</c:v>
                </c:pt>
                <c:pt idx="3">
                  <c:v>Gillette</c:v>
                </c:pt>
                <c:pt idx="4">
                  <c:v>Pbg Pl</c:v>
                </c:pt>
                <c:pt idx="5">
                  <c:v>Dollar Shav</c:v>
                </c:pt>
              </c:strCache>
            </c:strRef>
          </c:cat>
          <c:val>
            <c:numRef>
              <c:f>Sheet1!$C$2:$C$7</c:f>
              <c:numCache>
                <c:formatCode>General</c:formatCode>
                <c:ptCount val="6"/>
                <c:pt idx="0">
                  <c:v>0.4367633162117775</c:v>
                </c:pt>
                <c:pt idx="1">
                  <c:v>0.75068595215241607</c:v>
                </c:pt>
                <c:pt idx="2">
                  <c:v>0.93762910513655973</c:v>
                </c:pt>
                <c:pt idx="3">
                  <c:v>0.99499819775815368</c:v>
                </c:pt>
                <c:pt idx="4">
                  <c:v>0.99995382045828074</c:v>
                </c:pt>
                <c:pt idx="5">
                  <c:v>0.9999961258773725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0.91</c:v>
                </c:pt>
                <c:pt idx="1">
                  <c:v>0.63</c:v>
                </c:pt>
                <c:pt idx="2">
                  <c:v>0.66</c:v>
                </c:pt>
                <c:pt idx="3">
                  <c:v>0.1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59937289033806429</c:v>
                </c:pt>
                <c:pt idx="1">
                  <c:v>0.94846527784025447</c:v>
                </c:pt>
                <c:pt idx="2">
                  <c:v>0.98521446953368619</c:v>
                </c:pt>
                <c:pt idx="3">
                  <c:v>0.9999685545503578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c:f>
              <c:strCache>
                <c:ptCount val="40"/>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Harry's</c:v>
                </c:pt>
                <c:pt idx="39">
                  <c:v>Schick</c:v>
                </c:pt>
              </c:strCache>
            </c:strRef>
          </c:cat>
          <c:val>
            <c:numRef>
              <c:f>Sheet1!$B$2:$B$41</c:f>
              <c:numCache>
                <c:formatCode>General</c:formatCode>
                <c:ptCount val="40"/>
                <c:pt idx="0">
                  <c:v>0.93</c:v>
                </c:pt>
                <c:pt idx="1">
                  <c:v>0.95</c:v>
                </c:pt>
                <c:pt idx="2">
                  <c:v>0.79</c:v>
                </c:pt>
                <c:pt idx="3">
                  <c:v>0.9</c:v>
                </c:pt>
                <c:pt idx="4">
                  <c:v>0.75</c:v>
                </c:pt>
                <c:pt idx="5">
                  <c:v>0.88</c:v>
                </c:pt>
                <c:pt idx="6">
                  <c:v>0.73</c:v>
                </c:pt>
                <c:pt idx="7">
                  <c:v>0.67</c:v>
                </c:pt>
                <c:pt idx="8">
                  <c:v>0.69</c:v>
                </c:pt>
                <c:pt idx="9">
                  <c:v>0.8</c:v>
                </c:pt>
                <c:pt idx="10">
                  <c:v>0.83</c:v>
                </c:pt>
                <c:pt idx="11">
                  <c:v>0.84</c:v>
                </c:pt>
                <c:pt idx="12">
                  <c:v>0.54</c:v>
                </c:pt>
                <c:pt idx="13">
                  <c:v>0.6</c:v>
                </c:pt>
                <c:pt idx="14">
                  <c:v>0.44</c:v>
                </c:pt>
                <c:pt idx="15">
                  <c:v>0.7</c:v>
                </c:pt>
                <c:pt idx="16">
                  <c:v>0.4</c:v>
                </c:pt>
                <c:pt idx="17">
                  <c:v>0.43</c:v>
                </c:pt>
                <c:pt idx="18">
                  <c:v>0.31</c:v>
                </c:pt>
                <c:pt idx="19">
                  <c:v>0.54</c:v>
                </c:pt>
                <c:pt idx="20">
                  <c:v>0.34</c:v>
                </c:pt>
                <c:pt idx="21">
                  <c:v>0.24</c:v>
                </c:pt>
                <c:pt idx="22">
                  <c:v>0.56999999999999995</c:v>
                </c:pt>
                <c:pt idx="23">
                  <c:v>0.59</c:v>
                </c:pt>
                <c:pt idx="24">
                  <c:v>0.14000000000000001</c:v>
                </c:pt>
                <c:pt idx="25">
                  <c:v>0.28000000000000003</c:v>
                </c:pt>
                <c:pt idx="26">
                  <c:v>0.4</c:v>
                </c:pt>
                <c:pt idx="27">
                  <c:v>0.62</c:v>
                </c:pt>
                <c:pt idx="28">
                  <c:v>0.19</c:v>
                </c:pt>
                <c:pt idx="29">
                  <c:v>0.28999999999999998</c:v>
                </c:pt>
                <c:pt idx="30">
                  <c:v>0.26</c:v>
                </c:pt>
                <c:pt idx="31">
                  <c:v>0.14000000000000001</c:v>
                </c:pt>
                <c:pt idx="32">
                  <c:v>0.05</c:v>
                </c:pt>
                <c:pt idx="33">
                  <c:v>0.05</c:v>
                </c:pt>
                <c:pt idx="34">
                  <c:v>0.04</c:v>
                </c:pt>
                <c:pt idx="35">
                  <c:v>0.05</c:v>
                </c:pt>
                <c:pt idx="36">
                  <c:v>0.05</c:v>
                </c:pt>
                <c:pt idx="37">
                  <c:v>0.01</c:v>
                </c:pt>
                <c:pt idx="38">
                  <c:v>0.01</c:v>
                </c:pt>
                <c:pt idx="3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1</c:f>
              <c:strCache>
                <c:ptCount val="40"/>
                <c:pt idx="0">
                  <c:v>Gillette</c:v>
                </c:pt>
                <c:pt idx="1">
                  <c:v>Gillette</c:v>
                </c:pt>
                <c:pt idx="2">
                  <c:v>Gillette</c:v>
                </c:pt>
                <c:pt idx="3">
                  <c:v>Gillette</c:v>
                </c:pt>
                <c:pt idx="4">
                  <c:v>Harry's</c:v>
                </c:pt>
                <c:pt idx="5">
                  <c:v>Harry's</c:v>
                </c:pt>
                <c:pt idx="6">
                  <c:v>Gillette</c:v>
                </c:pt>
                <c:pt idx="7">
                  <c:v>Gillette</c:v>
                </c:pt>
                <c:pt idx="8">
                  <c:v>Gillette</c:v>
                </c:pt>
                <c:pt idx="9">
                  <c:v>Harry's</c:v>
                </c:pt>
                <c:pt idx="10">
                  <c:v>Schick</c:v>
                </c:pt>
                <c:pt idx="11">
                  <c:v>Dollar Shav</c:v>
                </c:pt>
                <c:pt idx="12">
                  <c:v>Van Der Hag</c:v>
                </c:pt>
                <c:pt idx="13">
                  <c:v>Gillette</c:v>
                </c:pt>
                <c:pt idx="14">
                  <c:v>Gillette</c:v>
                </c:pt>
                <c:pt idx="15">
                  <c:v>Equate</c:v>
                </c:pt>
                <c:pt idx="16">
                  <c:v>Gillette</c:v>
                </c:pt>
                <c:pt idx="17">
                  <c:v>Gillette</c:v>
                </c:pt>
                <c:pt idx="18">
                  <c:v>Harry's</c:v>
                </c:pt>
                <c:pt idx="19">
                  <c:v>Gillette</c:v>
                </c:pt>
                <c:pt idx="20">
                  <c:v>Gillette</c:v>
                </c:pt>
                <c:pt idx="21">
                  <c:v>Gillette</c:v>
                </c:pt>
                <c:pt idx="22">
                  <c:v>Harry's</c:v>
                </c:pt>
                <c:pt idx="23">
                  <c:v>Gillette</c:v>
                </c:pt>
                <c:pt idx="24">
                  <c:v>Harry's</c:v>
                </c:pt>
                <c:pt idx="25">
                  <c:v>Gillette</c:v>
                </c:pt>
                <c:pt idx="26">
                  <c:v>Gillette</c:v>
                </c:pt>
                <c:pt idx="27">
                  <c:v>Dollar Shav</c:v>
                </c:pt>
                <c:pt idx="28">
                  <c:v>Gillette</c:v>
                </c:pt>
                <c:pt idx="29">
                  <c:v>Gillette</c:v>
                </c:pt>
                <c:pt idx="30">
                  <c:v>Gillette</c:v>
                </c:pt>
                <c:pt idx="31">
                  <c:v>Gillette</c:v>
                </c:pt>
                <c:pt idx="32">
                  <c:v>Gillette</c:v>
                </c:pt>
                <c:pt idx="33">
                  <c:v>Schick</c:v>
                </c:pt>
                <c:pt idx="34">
                  <c:v>Schick</c:v>
                </c:pt>
                <c:pt idx="35">
                  <c:v>Gillette</c:v>
                </c:pt>
                <c:pt idx="36">
                  <c:v>Cremo</c:v>
                </c:pt>
                <c:pt idx="37">
                  <c:v>Harry's</c:v>
                </c:pt>
                <c:pt idx="38">
                  <c:v>Harry's</c:v>
                </c:pt>
                <c:pt idx="39">
                  <c:v>Schick</c:v>
                </c:pt>
              </c:strCache>
            </c:strRef>
          </c:cat>
          <c:val>
            <c:numRef>
              <c:f>Sheet1!$C$2:$C$41</c:f>
              <c:numCache>
                <c:formatCode>General</c:formatCode>
                <c:ptCount val="40"/>
                <c:pt idx="0">
                  <c:v>0.14684023274017932</c:v>
                </c:pt>
                <c:pt idx="1">
                  <c:v>0.25796547329394043</c:v>
                </c:pt>
                <c:pt idx="2">
                  <c:v>0.34234057043385863</c:v>
                </c:pt>
                <c:pt idx="3">
                  <c:v>0.41345532694117343</c:v>
                </c:pt>
                <c:pt idx="4">
                  <c:v>0.47385106437091479</c:v>
                </c:pt>
                <c:pt idx="5">
                  <c:v>0.53044993797174678</c:v>
                </c:pt>
                <c:pt idx="6">
                  <c:v>0.58292442726304217</c:v>
                </c:pt>
                <c:pt idx="7">
                  <c:v>0.63415891666737312</c:v>
                </c:pt>
                <c:pt idx="8">
                  <c:v>0.67837389896318145</c:v>
                </c:pt>
                <c:pt idx="9">
                  <c:v>0.71912547227662049</c:v>
                </c:pt>
                <c:pt idx="10">
                  <c:v>0.75940978492162392</c:v>
                </c:pt>
                <c:pt idx="11">
                  <c:v>0.79770085709199112</c:v>
                </c:pt>
                <c:pt idx="12">
                  <c:v>0.82305515286644004</c:v>
                </c:pt>
                <c:pt idx="13">
                  <c:v>0.8456657934671109</c:v>
                </c:pt>
                <c:pt idx="14">
                  <c:v>0.86769317067518958</c:v>
                </c:pt>
                <c:pt idx="15">
                  <c:v>0.88937875666556465</c:v>
                </c:pt>
                <c:pt idx="16">
                  <c:v>0.90353617561201693</c:v>
                </c:pt>
                <c:pt idx="17">
                  <c:v>0.91663671224824883</c:v>
                </c:pt>
                <c:pt idx="18">
                  <c:v>0.9274118252131428</c:v>
                </c:pt>
                <c:pt idx="19">
                  <c:v>0.93803617702496123</c:v>
                </c:pt>
                <c:pt idx="20">
                  <c:v>0.94615650901034576</c:v>
                </c:pt>
                <c:pt idx="21">
                  <c:v>0.95361021389150302</c:v>
                </c:pt>
                <c:pt idx="22">
                  <c:v>0.96034416496406905</c:v>
                </c:pt>
                <c:pt idx="23">
                  <c:v>0.96707472497039904</c:v>
                </c:pt>
                <c:pt idx="24">
                  <c:v>0.97267069073193357</c:v>
                </c:pt>
                <c:pt idx="25">
                  <c:v>0.97769709866024646</c:v>
                </c:pt>
                <c:pt idx="26">
                  <c:v>0.98257260414105729</c:v>
                </c:pt>
                <c:pt idx="27">
                  <c:v>0.98639913979953175</c:v>
                </c:pt>
                <c:pt idx="28">
                  <c:v>0.98934413953107236</c:v>
                </c:pt>
                <c:pt idx="29">
                  <c:v>0.99213512833772788</c:v>
                </c:pt>
                <c:pt idx="30">
                  <c:v>0.99487793574494687</c:v>
                </c:pt>
                <c:pt idx="31">
                  <c:v>0.99654082985042602</c:v>
                </c:pt>
                <c:pt idx="32">
                  <c:v>0.99754204215660536</c:v>
                </c:pt>
                <c:pt idx="33">
                  <c:v>0.99824794911139958</c:v>
                </c:pt>
                <c:pt idx="34">
                  <c:v>0.99886667740504331</c:v>
                </c:pt>
                <c:pt idx="35">
                  <c:v>0.99938423888931305</c:v>
                </c:pt>
                <c:pt idx="36">
                  <c:v>0.99971811761913265</c:v>
                </c:pt>
                <c:pt idx="37">
                  <c:v>0.9997920146041922</c:v>
                </c:pt>
                <c:pt idx="38">
                  <c:v>0.99988654057552073</c:v>
                </c:pt>
                <c:pt idx="39">
                  <c:v>0.9999164949939387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Harry's</c:v>
                </c:pt>
              </c:strCache>
            </c:strRef>
          </c:cat>
          <c:val>
            <c:numRef>
              <c:f>Sheet1!$B$2:$B$23</c:f>
              <c:numCache>
                <c:formatCode>General</c:formatCode>
                <c:ptCount val="22"/>
                <c:pt idx="0">
                  <c:v>0.76</c:v>
                </c:pt>
                <c:pt idx="1">
                  <c:v>0.79</c:v>
                </c:pt>
                <c:pt idx="2">
                  <c:v>0.57999999999999996</c:v>
                </c:pt>
                <c:pt idx="3">
                  <c:v>0.71</c:v>
                </c:pt>
                <c:pt idx="4">
                  <c:v>0.69</c:v>
                </c:pt>
                <c:pt idx="5">
                  <c:v>0.68</c:v>
                </c:pt>
                <c:pt idx="6">
                  <c:v>0.61</c:v>
                </c:pt>
                <c:pt idx="7">
                  <c:v>0.37</c:v>
                </c:pt>
                <c:pt idx="8">
                  <c:v>0.49</c:v>
                </c:pt>
                <c:pt idx="9">
                  <c:v>0.42</c:v>
                </c:pt>
                <c:pt idx="10">
                  <c:v>0.56999999999999995</c:v>
                </c:pt>
                <c:pt idx="11">
                  <c:v>0.42</c:v>
                </c:pt>
                <c:pt idx="12">
                  <c:v>0.53</c:v>
                </c:pt>
                <c:pt idx="13">
                  <c:v>0.28999999999999998</c:v>
                </c:pt>
                <c:pt idx="14">
                  <c:v>0.16</c:v>
                </c:pt>
                <c:pt idx="15">
                  <c:v>0.18</c:v>
                </c:pt>
                <c:pt idx="16">
                  <c:v>0.21</c:v>
                </c:pt>
                <c:pt idx="17">
                  <c:v>0.27</c:v>
                </c:pt>
                <c:pt idx="18">
                  <c:v>0.23</c:v>
                </c:pt>
                <c:pt idx="19">
                  <c:v>0.34</c:v>
                </c:pt>
                <c:pt idx="20">
                  <c:v>0.06</c:v>
                </c:pt>
                <c:pt idx="2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Gillette</c:v>
                </c:pt>
                <c:pt idx="1">
                  <c:v>Gillette</c:v>
                </c:pt>
                <c:pt idx="2">
                  <c:v>Gillette</c:v>
                </c:pt>
                <c:pt idx="3">
                  <c:v>Gillette</c:v>
                </c:pt>
                <c:pt idx="4">
                  <c:v>Harry's</c:v>
                </c:pt>
                <c:pt idx="5">
                  <c:v>Dollar Shav</c:v>
                </c:pt>
                <c:pt idx="6">
                  <c:v>Schick</c:v>
                </c:pt>
                <c:pt idx="7">
                  <c:v>Harry's</c:v>
                </c:pt>
                <c:pt idx="8">
                  <c:v>Harry's</c:v>
                </c:pt>
                <c:pt idx="9">
                  <c:v>Gillette</c:v>
                </c:pt>
                <c:pt idx="10">
                  <c:v>Gillette</c:v>
                </c:pt>
                <c:pt idx="11">
                  <c:v>Gillette</c:v>
                </c:pt>
                <c:pt idx="12">
                  <c:v>Equate</c:v>
                </c:pt>
                <c:pt idx="13">
                  <c:v>Gillette</c:v>
                </c:pt>
                <c:pt idx="14">
                  <c:v>Gillette</c:v>
                </c:pt>
                <c:pt idx="15">
                  <c:v>Gillette</c:v>
                </c:pt>
                <c:pt idx="16">
                  <c:v>Gillette</c:v>
                </c:pt>
                <c:pt idx="17">
                  <c:v>Harry's</c:v>
                </c:pt>
                <c:pt idx="18">
                  <c:v>Gillette</c:v>
                </c:pt>
                <c:pt idx="19">
                  <c:v>Dollar Shav</c:v>
                </c:pt>
                <c:pt idx="20">
                  <c:v>Van Der Hag</c:v>
                </c:pt>
                <c:pt idx="21">
                  <c:v>Harry's</c:v>
                </c:pt>
              </c:strCache>
            </c:strRef>
          </c:cat>
          <c:val>
            <c:numRef>
              <c:f>Sheet1!$C$2:$C$23</c:f>
              <c:numCache>
                <c:formatCode>General</c:formatCode>
                <c:ptCount val="22"/>
                <c:pt idx="0">
                  <c:v>0.15836197139623417</c:v>
                </c:pt>
                <c:pt idx="1">
                  <c:v>0.29774649468239345</c:v>
                </c:pt>
                <c:pt idx="2">
                  <c:v>0.39383962061192229</c:v>
                </c:pt>
                <c:pt idx="3">
                  <c:v>0.47369445042045105</c:v>
                </c:pt>
                <c:pt idx="4">
                  <c:v>0.55070031522135654</c:v>
                </c:pt>
                <c:pt idx="5">
                  <c:v>0.60602793029585911</c:v>
                </c:pt>
                <c:pt idx="6">
                  <c:v>0.66015733006575683</c:v>
                </c:pt>
                <c:pt idx="7">
                  <c:v>0.71180031615673145</c:v>
                </c:pt>
                <c:pt idx="8">
                  <c:v>0.76184381109167609</c:v>
                </c:pt>
                <c:pt idx="9">
                  <c:v>0.81025545089749229</c:v>
                </c:pt>
                <c:pt idx="10">
                  <c:v>0.85866147845363816</c:v>
                </c:pt>
                <c:pt idx="11">
                  <c:v>0.89159191461897502</c:v>
                </c:pt>
                <c:pt idx="12">
                  <c:v>0.92433808192013767</c:v>
                </c:pt>
                <c:pt idx="13">
                  <c:v>0.94796041493232563</c:v>
                </c:pt>
                <c:pt idx="14">
                  <c:v>0.96089440552245364</c:v>
                </c:pt>
                <c:pt idx="15">
                  <c:v>0.96983752537204537</c:v>
                </c:pt>
                <c:pt idx="16">
                  <c:v>0.97851219261240863</c:v>
                </c:pt>
                <c:pt idx="17">
                  <c:v>0.98515896697191063</c:v>
                </c:pt>
                <c:pt idx="18">
                  <c:v>0.99147405737589911</c:v>
                </c:pt>
                <c:pt idx="19">
                  <c:v>0.99698135797734522</c:v>
                </c:pt>
                <c:pt idx="20">
                  <c:v>0.99904741415596443</c:v>
                </c:pt>
                <c:pt idx="21">
                  <c:v>0.999581887399564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strCache>
            </c:strRef>
          </c:cat>
          <c:val>
            <c:numRef>
              <c:f>Sheet1!$B$2:$B$39</c:f>
              <c:numCache>
                <c:formatCode>General</c:formatCode>
                <c:ptCount val="38"/>
                <c:pt idx="0">
                  <c:v>0.94</c:v>
                </c:pt>
                <c:pt idx="1">
                  <c:v>0.96</c:v>
                </c:pt>
                <c:pt idx="2">
                  <c:v>0.86</c:v>
                </c:pt>
                <c:pt idx="3">
                  <c:v>0.89</c:v>
                </c:pt>
                <c:pt idx="4">
                  <c:v>0.91</c:v>
                </c:pt>
                <c:pt idx="5">
                  <c:v>0.94</c:v>
                </c:pt>
                <c:pt idx="6">
                  <c:v>0.66</c:v>
                </c:pt>
                <c:pt idx="7">
                  <c:v>0.76</c:v>
                </c:pt>
                <c:pt idx="8">
                  <c:v>0.91</c:v>
                </c:pt>
                <c:pt idx="9">
                  <c:v>0.87</c:v>
                </c:pt>
                <c:pt idx="10">
                  <c:v>0.86</c:v>
                </c:pt>
                <c:pt idx="11">
                  <c:v>0.67</c:v>
                </c:pt>
                <c:pt idx="12">
                  <c:v>0.65</c:v>
                </c:pt>
                <c:pt idx="13">
                  <c:v>0.64</c:v>
                </c:pt>
                <c:pt idx="14">
                  <c:v>0.77</c:v>
                </c:pt>
                <c:pt idx="15">
                  <c:v>0.68</c:v>
                </c:pt>
                <c:pt idx="16">
                  <c:v>0.57999999999999996</c:v>
                </c:pt>
                <c:pt idx="17">
                  <c:v>0.89</c:v>
                </c:pt>
                <c:pt idx="18">
                  <c:v>0.91</c:v>
                </c:pt>
                <c:pt idx="19">
                  <c:v>0.41</c:v>
                </c:pt>
                <c:pt idx="20">
                  <c:v>0.49</c:v>
                </c:pt>
                <c:pt idx="21">
                  <c:v>0.26</c:v>
                </c:pt>
                <c:pt idx="22">
                  <c:v>0.47</c:v>
                </c:pt>
                <c:pt idx="23">
                  <c:v>0.6</c:v>
                </c:pt>
                <c:pt idx="24">
                  <c:v>0.31</c:v>
                </c:pt>
                <c:pt idx="25">
                  <c:v>0.84</c:v>
                </c:pt>
                <c:pt idx="26">
                  <c:v>0.74</c:v>
                </c:pt>
                <c:pt idx="27">
                  <c:v>0.64</c:v>
                </c:pt>
                <c:pt idx="28">
                  <c:v>0.38</c:v>
                </c:pt>
                <c:pt idx="29">
                  <c:v>0.46</c:v>
                </c:pt>
                <c:pt idx="30">
                  <c:v>0.33</c:v>
                </c:pt>
                <c:pt idx="31">
                  <c:v>0.65</c:v>
                </c:pt>
                <c:pt idx="32">
                  <c:v>0.35</c:v>
                </c:pt>
                <c:pt idx="33">
                  <c:v>0.42</c:v>
                </c:pt>
                <c:pt idx="34">
                  <c:v>0.19</c:v>
                </c:pt>
                <c:pt idx="35">
                  <c:v>0.06</c:v>
                </c:pt>
                <c:pt idx="36">
                  <c:v>0.13</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Gillette</c:v>
                </c:pt>
                <c:pt idx="1">
                  <c:v>Gillette</c:v>
                </c:pt>
                <c:pt idx="2">
                  <c:v>Gillette</c:v>
                </c:pt>
                <c:pt idx="3">
                  <c:v>Harry's</c:v>
                </c:pt>
                <c:pt idx="4">
                  <c:v>Gillette</c:v>
                </c:pt>
                <c:pt idx="5">
                  <c:v>Harry's</c:v>
                </c:pt>
                <c:pt idx="6">
                  <c:v>Gillette</c:v>
                </c:pt>
                <c:pt idx="7">
                  <c:v>Gillette</c:v>
                </c:pt>
                <c:pt idx="8">
                  <c:v>Dollar Shav</c:v>
                </c:pt>
                <c:pt idx="9">
                  <c:v>Schick</c:v>
                </c:pt>
                <c:pt idx="10">
                  <c:v>Harry's</c:v>
                </c:pt>
                <c:pt idx="11">
                  <c:v>Gillette</c:v>
                </c:pt>
                <c:pt idx="12">
                  <c:v>Van Der Hag</c:v>
                </c:pt>
                <c:pt idx="13">
                  <c:v>Gillette</c:v>
                </c:pt>
                <c:pt idx="14">
                  <c:v>Equate</c:v>
                </c:pt>
                <c:pt idx="15">
                  <c:v>Gillette</c:v>
                </c:pt>
                <c:pt idx="16">
                  <c:v>Harry's</c:v>
                </c:pt>
                <c:pt idx="17">
                  <c:v>Gillette</c:v>
                </c:pt>
                <c:pt idx="18">
                  <c:v>Schick</c:v>
                </c:pt>
                <c:pt idx="19">
                  <c:v>Gillette</c:v>
                </c:pt>
                <c:pt idx="20">
                  <c:v>Gillette</c:v>
                </c:pt>
                <c:pt idx="21">
                  <c:v>Harry's</c:v>
                </c:pt>
                <c:pt idx="22">
                  <c:v>Gillette</c:v>
                </c:pt>
                <c:pt idx="23">
                  <c:v>Gillette</c:v>
                </c:pt>
                <c:pt idx="24">
                  <c:v>Gillette</c:v>
                </c:pt>
                <c:pt idx="25">
                  <c:v>Gillette</c:v>
                </c:pt>
                <c:pt idx="26">
                  <c:v>Harry's</c:v>
                </c:pt>
                <c:pt idx="27">
                  <c:v>Gillette</c:v>
                </c:pt>
                <c:pt idx="28">
                  <c:v>Gillette</c:v>
                </c:pt>
                <c:pt idx="29">
                  <c:v>Gillette</c:v>
                </c:pt>
                <c:pt idx="30">
                  <c:v>Gillette</c:v>
                </c:pt>
                <c:pt idx="31">
                  <c:v>Dollar Shav</c:v>
                </c:pt>
                <c:pt idx="32">
                  <c:v>Gillette</c:v>
                </c:pt>
                <c:pt idx="33">
                  <c:v>Gillette</c:v>
                </c:pt>
                <c:pt idx="34">
                  <c:v>Gillette</c:v>
                </c:pt>
                <c:pt idx="35">
                  <c:v>Schick</c:v>
                </c:pt>
                <c:pt idx="36">
                  <c:v>Cremo</c:v>
                </c:pt>
                <c:pt idx="37">
                  <c:v>Harry's</c:v>
                </c:pt>
              </c:strCache>
            </c:strRef>
          </c:cat>
          <c:val>
            <c:numRef>
              <c:f>Sheet1!$C$2:$C$39</c:f>
              <c:numCache>
                <c:formatCode>General</c:formatCode>
                <c:ptCount val="38"/>
                <c:pt idx="0">
                  <c:v>0.11943392370361504</c:v>
                </c:pt>
                <c:pt idx="1">
                  <c:v>0.21490457262394724</c:v>
                </c:pt>
                <c:pt idx="2">
                  <c:v>0.29180388945342195</c:v>
                </c:pt>
                <c:pt idx="3">
                  <c:v>0.36325092738620257</c:v>
                </c:pt>
                <c:pt idx="4">
                  <c:v>0.42650736911842091</c:v>
                </c:pt>
                <c:pt idx="5">
                  <c:v>0.48400921592247331</c:v>
                </c:pt>
                <c:pt idx="6">
                  <c:v>0.53269573946509485</c:v>
                </c:pt>
                <c:pt idx="7">
                  <c:v>0.57771861304201411</c:v>
                </c:pt>
                <c:pt idx="8">
                  <c:v>0.61876684556404138</c:v>
                </c:pt>
                <c:pt idx="9">
                  <c:v>0.65563747960055552</c:v>
                </c:pt>
                <c:pt idx="10">
                  <c:v>0.69211700885075056</c:v>
                </c:pt>
                <c:pt idx="11">
                  <c:v>0.72584566398389894</c:v>
                </c:pt>
                <c:pt idx="12">
                  <c:v>0.75757460052895509</c:v>
                </c:pt>
                <c:pt idx="13">
                  <c:v>0.78416704256876413</c:v>
                </c:pt>
                <c:pt idx="14">
                  <c:v>0.80512006208186748</c:v>
                </c:pt>
                <c:pt idx="15">
                  <c:v>0.8253037463405748</c:v>
                </c:pt>
                <c:pt idx="16">
                  <c:v>0.84442001954233414</c:v>
                </c:pt>
                <c:pt idx="17">
                  <c:v>0.8626644545645028</c:v>
                </c:pt>
                <c:pt idx="18">
                  <c:v>0.87657400318926648</c:v>
                </c:pt>
                <c:pt idx="19">
                  <c:v>0.89038909917852405</c:v>
                </c:pt>
                <c:pt idx="20">
                  <c:v>0.90316148805323671</c:v>
                </c:pt>
                <c:pt idx="21">
                  <c:v>0.91420956837767531</c:v>
                </c:pt>
                <c:pt idx="22">
                  <c:v>0.92470482117510489</c:v>
                </c:pt>
                <c:pt idx="23">
                  <c:v>0.93471394299317412</c:v>
                </c:pt>
                <c:pt idx="24">
                  <c:v>0.94467433290496072</c:v>
                </c:pt>
                <c:pt idx="25">
                  <c:v>0.95392557013513746</c:v>
                </c:pt>
                <c:pt idx="26">
                  <c:v>0.96293991786123478</c:v>
                </c:pt>
                <c:pt idx="27">
                  <c:v>0.96938359095728344</c:v>
                </c:pt>
                <c:pt idx="28">
                  <c:v>0.97521598486824101</c:v>
                </c:pt>
                <c:pt idx="29">
                  <c:v>0.98086972584912557</c:v>
                </c:pt>
                <c:pt idx="30">
                  <c:v>0.9849940961469652</c:v>
                </c:pt>
                <c:pt idx="31">
                  <c:v>0.98893208073010741</c:v>
                </c:pt>
                <c:pt idx="32">
                  <c:v>0.99225997421162393</c:v>
                </c:pt>
                <c:pt idx="33">
                  <c:v>0.99539863467496537</c:v>
                </c:pt>
                <c:pt idx="34">
                  <c:v>0.99773095518080046</c:v>
                </c:pt>
                <c:pt idx="35">
                  <c:v>0.99890772112706727</c:v>
                </c:pt>
                <c:pt idx="36">
                  <c:v>0.99979725765345417</c:v>
                </c:pt>
                <c:pt idx="37">
                  <c:v>0.999835542618919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B$2:$B$34</c:f>
              <c:numCache>
                <c:formatCode>General</c:formatCode>
                <c:ptCount val="33"/>
                <c:pt idx="0">
                  <c:v>0.98599999999999999</c:v>
                </c:pt>
                <c:pt idx="1">
                  <c:v>0.98799999999999999</c:v>
                </c:pt>
                <c:pt idx="2">
                  <c:v>0.98499999999999999</c:v>
                </c:pt>
                <c:pt idx="3">
                  <c:v>0.92100000000000004</c:v>
                </c:pt>
                <c:pt idx="4">
                  <c:v>0.86099999999999999</c:v>
                </c:pt>
                <c:pt idx="5">
                  <c:v>0.61899999999999999</c:v>
                </c:pt>
                <c:pt idx="6">
                  <c:v>0.82599999999999996</c:v>
                </c:pt>
                <c:pt idx="7">
                  <c:v>0.78200000000000003</c:v>
                </c:pt>
                <c:pt idx="8">
                  <c:v>0.626</c:v>
                </c:pt>
                <c:pt idx="9">
                  <c:v>0.73499999999999999</c:v>
                </c:pt>
                <c:pt idx="10">
                  <c:v>0.65300000000000002</c:v>
                </c:pt>
                <c:pt idx="11">
                  <c:v>0.78500000000000003</c:v>
                </c:pt>
                <c:pt idx="12">
                  <c:v>0.86</c:v>
                </c:pt>
                <c:pt idx="13">
                  <c:v>0.84499999999999997</c:v>
                </c:pt>
                <c:pt idx="14">
                  <c:v>0.60599999999999998</c:v>
                </c:pt>
                <c:pt idx="15">
                  <c:v>0.43099999999999999</c:v>
                </c:pt>
                <c:pt idx="16">
                  <c:v>0.54700000000000004</c:v>
                </c:pt>
                <c:pt idx="17">
                  <c:v>0.44800000000000001</c:v>
                </c:pt>
                <c:pt idx="18">
                  <c:v>0.56200000000000006</c:v>
                </c:pt>
                <c:pt idx="19">
                  <c:v>0.873</c:v>
                </c:pt>
                <c:pt idx="20">
                  <c:v>0.54500000000000004</c:v>
                </c:pt>
                <c:pt idx="21">
                  <c:v>0.58399999999999996</c:v>
                </c:pt>
                <c:pt idx="22">
                  <c:v>0.32600000000000001</c:v>
                </c:pt>
                <c:pt idx="23">
                  <c:v>0.433</c:v>
                </c:pt>
                <c:pt idx="24">
                  <c:v>0.19800000000000001</c:v>
                </c:pt>
                <c:pt idx="25">
                  <c:v>0.16900000000000001</c:v>
                </c:pt>
                <c:pt idx="26">
                  <c:v>0.68899999999999995</c:v>
                </c:pt>
                <c:pt idx="27">
                  <c:v>0.16700000000000001</c:v>
                </c:pt>
                <c:pt idx="28">
                  <c:v>4.5999999999999999E-2</c:v>
                </c:pt>
                <c:pt idx="29">
                  <c:v>6.4000000000000001E-2</c:v>
                </c:pt>
                <c:pt idx="30">
                  <c:v>0.01</c:v>
                </c:pt>
                <c:pt idx="31">
                  <c:v>1E-3</c:v>
                </c:pt>
                <c:pt idx="32">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Equate</c:v>
                </c:pt>
                <c:pt idx="14">
                  <c:v>Gillet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C$2:$C$34</c:f>
              <c:numCache>
                <c:formatCode>General</c:formatCode>
                <c:ptCount val="33"/>
                <c:pt idx="0">
                  <c:v>0.14143384146150964</c:v>
                </c:pt>
                <c:pt idx="1">
                  <c:v>0.27578671817783518</c:v>
                </c:pt>
                <c:pt idx="2">
                  <c:v>0.367747969073841</c:v>
                </c:pt>
                <c:pt idx="3">
                  <c:v>0.43678954484186555</c:v>
                </c:pt>
                <c:pt idx="4">
                  <c:v>0.50488825067016418</c:v>
                </c:pt>
                <c:pt idx="5">
                  <c:v>0.56482284292780705</c:v>
                </c:pt>
                <c:pt idx="6">
                  <c:v>0.61441416302828866</c:v>
                </c:pt>
                <c:pt idx="7">
                  <c:v>0.654434595475478</c:v>
                </c:pt>
                <c:pt idx="8">
                  <c:v>0.6861577110618825</c:v>
                </c:pt>
                <c:pt idx="9">
                  <c:v>0.71716438097094082</c:v>
                </c:pt>
                <c:pt idx="10">
                  <c:v>0.74801311422107453</c:v>
                </c:pt>
                <c:pt idx="11">
                  <c:v>0.77596575415883595</c:v>
                </c:pt>
                <c:pt idx="12">
                  <c:v>0.79996036313767205</c:v>
                </c:pt>
                <c:pt idx="13">
                  <c:v>0.82379785227266578</c:v>
                </c:pt>
                <c:pt idx="14">
                  <c:v>0.84754919082838176</c:v>
                </c:pt>
                <c:pt idx="15">
                  <c:v>0.87067851689501596</c:v>
                </c:pt>
                <c:pt idx="16">
                  <c:v>0.8918365820228249</c:v>
                </c:pt>
                <c:pt idx="17">
                  <c:v>0.90954885289585408</c:v>
                </c:pt>
                <c:pt idx="18">
                  <c:v>0.92580384241988845</c:v>
                </c:pt>
                <c:pt idx="19">
                  <c:v>0.9393133915891051</c:v>
                </c:pt>
                <c:pt idx="20">
                  <c:v>0.95233185800401265</c:v>
                </c:pt>
                <c:pt idx="21">
                  <c:v>0.96404047559094563</c:v>
                </c:pt>
                <c:pt idx="22">
                  <c:v>0.97401426638817312</c:v>
                </c:pt>
                <c:pt idx="23">
                  <c:v>0.98248799969878753</c:v>
                </c:pt>
                <c:pt idx="24">
                  <c:v>0.98890528918305243</c:v>
                </c:pt>
                <c:pt idx="25">
                  <c:v>0.99392708911916083</c:v>
                </c:pt>
                <c:pt idx="26">
                  <c:v>0.9975953900455119</c:v>
                </c:pt>
                <c:pt idx="27">
                  <c:v>0.99906699427298673</c:v>
                </c:pt>
                <c:pt idx="28">
                  <c:v>0.99959318446790002</c:v>
                </c:pt>
                <c:pt idx="29">
                  <c:v>0.99981794908689603</c:v>
                </c:pt>
                <c:pt idx="30">
                  <c:v>0.99984731280870554</c:v>
                </c:pt>
                <c:pt idx="31">
                  <c:v>0.99993671504038062</c:v>
                </c:pt>
                <c:pt idx="32">
                  <c:v>0.999956708800641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1</c:v>
                </c:pt>
                <c:pt idx="1">
                  <c:v>1</c:v>
                </c:pt>
                <c:pt idx="2">
                  <c:v>0.77</c:v>
                </c:pt>
                <c:pt idx="3">
                  <c:v>0.7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65217507266051911</c:v>
                </c:pt>
                <c:pt idx="1">
                  <c:v>0.95621699016522888</c:v>
                </c:pt>
                <c:pt idx="2">
                  <c:v>0.98273548491214358</c:v>
                </c:pt>
                <c:pt idx="3">
                  <c:v>0.9999991376519925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c:f>
              <c:strCache>
                <c:ptCount val="4"/>
                <c:pt idx="0">
                  <c:v>Gillette</c:v>
                </c:pt>
                <c:pt idx="1">
                  <c:v>Gillette</c:v>
                </c:pt>
                <c:pt idx="2">
                  <c:v>Gillette</c:v>
                </c:pt>
                <c:pt idx="3">
                  <c:v>Gillette</c:v>
                </c:pt>
              </c:strCache>
            </c:strRef>
          </c:cat>
          <c:val>
            <c:numRef>
              <c:f>Sheet1!$B$2:$B$5</c:f>
              <c:numCache>
                <c:formatCode>General</c:formatCode>
                <c:ptCount val="4"/>
                <c:pt idx="0">
                  <c:v>0.94</c:v>
                </c:pt>
                <c:pt idx="1">
                  <c:v>0.94</c:v>
                </c:pt>
                <c:pt idx="2">
                  <c:v>0.8</c:v>
                </c:pt>
                <c:pt idx="3">
                  <c:v>0.27</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AEABAB"/>
              </a:solidFill>
            </c:spPr>
            <c:extLst>
              <c:ext xmlns:c16="http://schemas.microsoft.com/office/drawing/2014/chart" uri="{C3380CC4-5D6E-409C-BE32-E72D297353CC}">
                <c16:uniqueId val="{0000000A-C76F-4230-900D-40618C09729F}"/>
              </c:ext>
            </c:extLst>
          </c:dPt>
          <c:dPt>
            <c:idx val="3"/>
            <c:invertIfNegative val="0"/>
            <c:bubble3D val="0"/>
            <c:spPr>
              <a:solidFill>
                <a:srgbClr val="AEABAB"/>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c:f>
              <c:strCache>
                <c:ptCount val="4"/>
                <c:pt idx="0">
                  <c:v>Gillette</c:v>
                </c:pt>
                <c:pt idx="1">
                  <c:v>Gillette</c:v>
                </c:pt>
                <c:pt idx="2">
                  <c:v>Gillette</c:v>
                </c:pt>
                <c:pt idx="3">
                  <c:v>Gillette</c:v>
                </c:pt>
              </c:strCache>
            </c:strRef>
          </c:cat>
          <c:val>
            <c:numRef>
              <c:f>Sheet1!$C$2:$C$5</c:f>
              <c:numCache>
                <c:formatCode>General</c:formatCode>
                <c:ptCount val="4"/>
                <c:pt idx="0">
                  <c:v>0.62970481321161254</c:v>
                </c:pt>
                <c:pt idx="1">
                  <c:v>0.88577830352016507</c:v>
                </c:pt>
                <c:pt idx="2">
                  <c:v>0.98833081359863539</c:v>
                </c:pt>
                <c:pt idx="3">
                  <c:v>0.9999167452986255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c:f>
              <c:strCache>
                <c:ptCount val="33"/>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B$2:$B$34</c:f>
              <c:numCache>
                <c:formatCode>General</c:formatCode>
                <c:ptCount val="33"/>
                <c:pt idx="0">
                  <c:v>0.99</c:v>
                </c:pt>
                <c:pt idx="1">
                  <c:v>0.99</c:v>
                </c:pt>
                <c:pt idx="2">
                  <c:v>0.99</c:v>
                </c:pt>
                <c:pt idx="3">
                  <c:v>0.88</c:v>
                </c:pt>
                <c:pt idx="4">
                  <c:v>0.9</c:v>
                </c:pt>
                <c:pt idx="5">
                  <c:v>0.87</c:v>
                </c:pt>
                <c:pt idx="6">
                  <c:v>0.52</c:v>
                </c:pt>
                <c:pt idx="7">
                  <c:v>0.74</c:v>
                </c:pt>
                <c:pt idx="8">
                  <c:v>0.76</c:v>
                </c:pt>
                <c:pt idx="9">
                  <c:v>0.68</c:v>
                </c:pt>
                <c:pt idx="10">
                  <c:v>0.79</c:v>
                </c:pt>
                <c:pt idx="11">
                  <c:v>0.54</c:v>
                </c:pt>
                <c:pt idx="12">
                  <c:v>0.53</c:v>
                </c:pt>
                <c:pt idx="13">
                  <c:v>0.83</c:v>
                </c:pt>
                <c:pt idx="14">
                  <c:v>0.32</c:v>
                </c:pt>
                <c:pt idx="15">
                  <c:v>0.54</c:v>
                </c:pt>
                <c:pt idx="16">
                  <c:v>0.83</c:v>
                </c:pt>
                <c:pt idx="17">
                  <c:v>0.8</c:v>
                </c:pt>
                <c:pt idx="18">
                  <c:v>0.47</c:v>
                </c:pt>
                <c:pt idx="19">
                  <c:v>0.31</c:v>
                </c:pt>
                <c:pt idx="20">
                  <c:v>0.52</c:v>
                </c:pt>
                <c:pt idx="21">
                  <c:v>0.54</c:v>
                </c:pt>
                <c:pt idx="22">
                  <c:v>0.31</c:v>
                </c:pt>
                <c:pt idx="23">
                  <c:v>0.33</c:v>
                </c:pt>
                <c:pt idx="24">
                  <c:v>0.23</c:v>
                </c:pt>
                <c:pt idx="25">
                  <c:v>0.17</c:v>
                </c:pt>
                <c:pt idx="26">
                  <c:v>0.67</c:v>
                </c:pt>
                <c:pt idx="27">
                  <c:v>0.15</c:v>
                </c:pt>
                <c:pt idx="28">
                  <c:v>0.04</c:v>
                </c:pt>
                <c:pt idx="29">
                  <c:v>0.04</c:v>
                </c:pt>
                <c:pt idx="30">
                  <c:v>0.01</c:v>
                </c:pt>
                <c:pt idx="31">
                  <c:v>0.01</c:v>
                </c:pt>
                <c:pt idx="3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4</c:f>
              <c:strCache>
                <c:ptCount val="33"/>
                <c:pt idx="0">
                  <c:v>Gillette</c:v>
                </c:pt>
                <c:pt idx="1">
                  <c:v>Harry's</c:v>
                </c:pt>
                <c:pt idx="2">
                  <c:v>Gillette</c:v>
                </c:pt>
                <c:pt idx="3">
                  <c:v>Gillette</c:v>
                </c:pt>
                <c:pt idx="4">
                  <c:v>Harry's</c:v>
                </c:pt>
                <c:pt idx="5">
                  <c:v>Gillette</c:v>
                </c:pt>
                <c:pt idx="6">
                  <c:v>Gillette</c:v>
                </c:pt>
                <c:pt idx="7">
                  <c:v>Harry's</c:v>
                </c:pt>
                <c:pt idx="8">
                  <c:v>Gillette</c:v>
                </c:pt>
                <c:pt idx="9">
                  <c:v>Gillette</c:v>
                </c:pt>
                <c:pt idx="10">
                  <c:v>Schick</c:v>
                </c:pt>
                <c:pt idx="11">
                  <c:v>Gillette</c:v>
                </c:pt>
                <c:pt idx="12">
                  <c:v>Gillette</c:v>
                </c:pt>
                <c:pt idx="13">
                  <c:v>Equate</c:v>
                </c:pt>
                <c:pt idx="14">
                  <c:v>Gillette</c:v>
                </c:pt>
                <c:pt idx="15">
                  <c:v>Gillette</c:v>
                </c:pt>
                <c:pt idx="16">
                  <c:v>Dollar Shav</c:v>
                </c:pt>
                <c:pt idx="17">
                  <c:v>Van Der Hag</c:v>
                </c:pt>
                <c:pt idx="18">
                  <c:v>Dollar Shav</c:v>
                </c:pt>
                <c:pt idx="19">
                  <c:v>Schick</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pt idx="31">
                  <c:v>Dollar Shav</c:v>
                </c:pt>
                <c:pt idx="32">
                  <c:v>Dollar Shav</c:v>
                </c:pt>
              </c:strCache>
            </c:strRef>
          </c:cat>
          <c:val>
            <c:numRef>
              <c:f>Sheet1!$C$2:$C$34</c:f>
              <c:numCache>
                <c:formatCode>General</c:formatCode>
                <c:ptCount val="33"/>
                <c:pt idx="0">
                  <c:v>0.14603919761188924</c:v>
                </c:pt>
                <c:pt idx="1">
                  <c:v>0.25787842539589018</c:v>
                </c:pt>
                <c:pt idx="2">
                  <c:v>0.34751153330949658</c:v>
                </c:pt>
                <c:pt idx="3">
                  <c:v>0.43248198087436562</c:v>
                </c:pt>
                <c:pt idx="4">
                  <c:v>0.4996473188990268</c:v>
                </c:pt>
                <c:pt idx="5">
                  <c:v>0.56326794854585871</c:v>
                </c:pt>
                <c:pt idx="6">
                  <c:v>0.62634342119278041</c:v>
                </c:pt>
                <c:pt idx="7">
                  <c:v>0.66212216062412721</c:v>
                </c:pt>
                <c:pt idx="8">
                  <c:v>0.69754200239080333</c:v>
                </c:pt>
                <c:pt idx="9">
                  <c:v>0.72965732479486334</c:v>
                </c:pt>
                <c:pt idx="10">
                  <c:v>0.7581855711576786</c:v>
                </c:pt>
                <c:pt idx="11">
                  <c:v>0.7865114030388306</c:v>
                </c:pt>
                <c:pt idx="12">
                  <c:v>0.8148257520953186</c:v>
                </c:pt>
                <c:pt idx="13">
                  <c:v>0.8373144286443418</c:v>
                </c:pt>
                <c:pt idx="14">
                  <c:v>0.85843070966628154</c:v>
                </c:pt>
                <c:pt idx="15">
                  <c:v>0.87905655528722715</c:v>
                </c:pt>
                <c:pt idx="16">
                  <c:v>0.89833582193860972</c:v>
                </c:pt>
                <c:pt idx="17">
                  <c:v>0.91230859814112875</c:v>
                </c:pt>
                <c:pt idx="18">
                  <c:v>0.92586466659618594</c:v>
                </c:pt>
                <c:pt idx="19">
                  <c:v>0.93881555059550326</c:v>
                </c:pt>
                <c:pt idx="20">
                  <c:v>0.95167536391645102</c:v>
                </c:pt>
                <c:pt idx="21">
                  <c:v>0.96289946866198572</c:v>
                </c:pt>
                <c:pt idx="22">
                  <c:v>0.97304743475676814</c:v>
                </c:pt>
                <c:pt idx="23">
                  <c:v>0.98294562961713505</c:v>
                </c:pt>
                <c:pt idx="24">
                  <c:v>0.98923188218146763</c:v>
                </c:pt>
                <c:pt idx="25">
                  <c:v>0.99428535452825206</c:v>
                </c:pt>
                <c:pt idx="26">
                  <c:v>0.99823853469654278</c:v>
                </c:pt>
                <c:pt idx="27">
                  <c:v>0.99941049553931871</c:v>
                </c:pt>
                <c:pt idx="28">
                  <c:v>0.9997449229086709</c:v>
                </c:pt>
                <c:pt idx="29">
                  <c:v>0.99984011156554076</c:v>
                </c:pt>
                <c:pt idx="30">
                  <c:v>0.99987543115036936</c:v>
                </c:pt>
                <c:pt idx="31">
                  <c:v>0.99994028931174739</c:v>
                </c:pt>
                <c:pt idx="32">
                  <c:v>0.9999703030396621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7</c:f>
              <c:strCache>
                <c:ptCount val="26"/>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Schick</c:v>
                </c:pt>
              </c:strCache>
            </c:strRef>
          </c:cat>
          <c:val>
            <c:numRef>
              <c:f>Sheet1!$B$2:$B$27</c:f>
              <c:numCache>
                <c:formatCode>General</c:formatCode>
                <c:ptCount val="26"/>
                <c:pt idx="0">
                  <c:v>0.93</c:v>
                </c:pt>
                <c:pt idx="1">
                  <c:v>0.95</c:v>
                </c:pt>
                <c:pt idx="2">
                  <c:v>0.91</c:v>
                </c:pt>
                <c:pt idx="3">
                  <c:v>0.55000000000000004</c:v>
                </c:pt>
                <c:pt idx="4">
                  <c:v>0.66</c:v>
                </c:pt>
                <c:pt idx="5">
                  <c:v>0.56999999999999995</c:v>
                </c:pt>
                <c:pt idx="6">
                  <c:v>0.28000000000000003</c:v>
                </c:pt>
                <c:pt idx="7">
                  <c:v>0.48</c:v>
                </c:pt>
                <c:pt idx="8">
                  <c:v>0.56000000000000005</c:v>
                </c:pt>
                <c:pt idx="9">
                  <c:v>0.65</c:v>
                </c:pt>
                <c:pt idx="10">
                  <c:v>0.42</c:v>
                </c:pt>
                <c:pt idx="11">
                  <c:v>0.61</c:v>
                </c:pt>
                <c:pt idx="12">
                  <c:v>0.31</c:v>
                </c:pt>
                <c:pt idx="13">
                  <c:v>0.23</c:v>
                </c:pt>
                <c:pt idx="14">
                  <c:v>0.26</c:v>
                </c:pt>
                <c:pt idx="15">
                  <c:v>0.21</c:v>
                </c:pt>
                <c:pt idx="16">
                  <c:v>0.14000000000000001</c:v>
                </c:pt>
                <c:pt idx="17">
                  <c:v>0.27</c:v>
                </c:pt>
                <c:pt idx="18">
                  <c:v>0.4</c:v>
                </c:pt>
                <c:pt idx="19">
                  <c:v>0.21</c:v>
                </c:pt>
                <c:pt idx="20">
                  <c:v>0.16</c:v>
                </c:pt>
                <c:pt idx="21">
                  <c:v>0.08</c:v>
                </c:pt>
                <c:pt idx="22">
                  <c:v>0.41</c:v>
                </c:pt>
                <c:pt idx="23">
                  <c:v>0.06</c:v>
                </c:pt>
                <c:pt idx="24">
                  <c:v>0.13</c:v>
                </c:pt>
                <c:pt idx="2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7</c:f>
              <c:strCache>
                <c:ptCount val="26"/>
                <c:pt idx="0">
                  <c:v>Gillette</c:v>
                </c:pt>
                <c:pt idx="1">
                  <c:v>Harry's</c:v>
                </c:pt>
                <c:pt idx="2">
                  <c:v>Gillette</c:v>
                </c:pt>
                <c:pt idx="3">
                  <c:v>Gillette</c:v>
                </c:pt>
                <c:pt idx="4">
                  <c:v>Harry's</c:v>
                </c:pt>
                <c:pt idx="5">
                  <c:v>Gillette</c:v>
                </c:pt>
                <c:pt idx="6">
                  <c:v>Gillette</c:v>
                </c:pt>
                <c:pt idx="7">
                  <c:v>Gillette</c:v>
                </c:pt>
                <c:pt idx="8">
                  <c:v>Schick</c:v>
                </c:pt>
                <c:pt idx="9">
                  <c:v>Equate</c:v>
                </c:pt>
                <c:pt idx="10">
                  <c:v>Harry's</c:v>
                </c:pt>
                <c:pt idx="11">
                  <c:v>Dollar Shav</c:v>
                </c:pt>
                <c:pt idx="12">
                  <c:v>Gillette</c:v>
                </c:pt>
                <c:pt idx="13">
                  <c:v>Gillette</c:v>
                </c:pt>
                <c:pt idx="14">
                  <c:v>Gillette</c:v>
                </c:pt>
                <c:pt idx="15">
                  <c:v>Gillette</c:v>
                </c:pt>
                <c:pt idx="16">
                  <c:v>Gillette</c:v>
                </c:pt>
                <c:pt idx="17">
                  <c:v>Dollar Shav</c:v>
                </c:pt>
                <c:pt idx="18">
                  <c:v>Equate</c:v>
                </c:pt>
                <c:pt idx="19">
                  <c:v>Gillette</c:v>
                </c:pt>
                <c:pt idx="20">
                  <c:v>Gillette</c:v>
                </c:pt>
                <c:pt idx="21">
                  <c:v>Gillette</c:v>
                </c:pt>
                <c:pt idx="22">
                  <c:v>Equate</c:v>
                </c:pt>
                <c:pt idx="23">
                  <c:v>Gillette</c:v>
                </c:pt>
                <c:pt idx="24">
                  <c:v>Van Der Hag</c:v>
                </c:pt>
                <c:pt idx="25">
                  <c:v>Schick</c:v>
                </c:pt>
              </c:strCache>
            </c:strRef>
          </c:cat>
          <c:val>
            <c:numRef>
              <c:f>Sheet1!$C$2:$C$27</c:f>
              <c:numCache>
                <c:formatCode>General</c:formatCode>
                <c:ptCount val="26"/>
                <c:pt idx="0">
                  <c:v>0.16108026992741747</c:v>
                </c:pt>
                <c:pt idx="1">
                  <c:v>0.30315545610119499</c:v>
                </c:pt>
                <c:pt idx="2">
                  <c:v>0.40955877189211232</c:v>
                </c:pt>
                <c:pt idx="3">
                  <c:v>0.49073444901101904</c:v>
                </c:pt>
                <c:pt idx="4">
                  <c:v>0.55986653420206978</c:v>
                </c:pt>
                <c:pt idx="5">
                  <c:v>0.61429565218744586</c:v>
                </c:pt>
                <c:pt idx="6">
                  <c:v>0.66229980276210865</c:v>
                </c:pt>
                <c:pt idx="7">
                  <c:v>0.70283784065069244</c:v>
                </c:pt>
                <c:pt idx="8">
                  <c:v>0.74264170771169224</c:v>
                </c:pt>
                <c:pt idx="9">
                  <c:v>0.77384892849771414</c:v>
                </c:pt>
                <c:pt idx="10">
                  <c:v>0.80381424505392773</c:v>
                </c:pt>
                <c:pt idx="11">
                  <c:v>0.83202836770714406</c:v>
                </c:pt>
                <c:pt idx="12">
                  <c:v>0.85791722700526973</c:v>
                </c:pt>
                <c:pt idx="13">
                  <c:v>0.88216781931227217</c:v>
                </c:pt>
                <c:pt idx="14">
                  <c:v>0.90259193038488716</c:v>
                </c:pt>
                <c:pt idx="15">
                  <c:v>0.91948369543543773</c:v>
                </c:pt>
                <c:pt idx="16">
                  <c:v>0.93591519334818651</c:v>
                </c:pt>
                <c:pt idx="17">
                  <c:v>0.95111081758111515</c:v>
                </c:pt>
                <c:pt idx="18">
                  <c:v>0.96419049690370151</c:v>
                </c:pt>
                <c:pt idx="19">
                  <c:v>0.97521920562872066</c:v>
                </c:pt>
                <c:pt idx="20">
                  <c:v>0.98352482923330486</c:v>
                </c:pt>
                <c:pt idx="21">
                  <c:v>0.9901218618525498</c:v>
                </c:pt>
                <c:pt idx="22">
                  <c:v>0.99470128643303268</c:v>
                </c:pt>
                <c:pt idx="23">
                  <c:v>0.99880945271202581</c:v>
                </c:pt>
                <c:pt idx="24">
                  <c:v>0.999638945136196</c:v>
                </c:pt>
                <c:pt idx="25">
                  <c:v>0.9999041920687372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B$2:$B$4</c:f>
              <c:numCache>
                <c:formatCode>General</c:formatCode>
                <c:ptCount val="3"/>
                <c:pt idx="0">
                  <c:v>0.99999345956864738</c:v>
                </c:pt>
                <c:pt idx="1">
                  <c:v>4.4750319781444827E-6</c:v>
                </c:pt>
                <c:pt idx="2">
                  <c:v>2.0653993745282227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C$2:$C$4</c:f>
              <c:numCache>
                <c:formatCode>General</c:formatCode>
                <c:ptCount val="3"/>
                <c:pt idx="0">
                  <c:v>1</c:v>
                </c:pt>
                <c:pt idx="1">
                  <c:v>0</c:v>
                </c:pt>
                <c:pt idx="2">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Cremo</c:v>
                </c:pt>
                <c:pt idx="2">
                  <c:v>Others</c:v>
                </c:pt>
              </c:strCache>
            </c:strRef>
          </c:cat>
          <c:val>
            <c:numRef>
              <c:f>Sheet1!$D$2:$D$4</c:f>
              <c:numCache>
                <c:formatCode>General</c:formatCode>
                <c:ptCount val="3"/>
                <c:pt idx="0">
                  <c:v>1.0000065404741301</c:v>
                </c:pt>
                <c:pt idx="1">
                  <c:v>0</c:v>
                </c:pt>
                <c:pt idx="2">
                  <c:v>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2</c:f>
              <c:strCache>
                <c:ptCount val="3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strCache>
            </c:strRef>
          </c:cat>
          <c:val>
            <c:numRef>
              <c:f>Sheet1!$B$2:$B$32</c:f>
              <c:numCache>
                <c:formatCode>General</c:formatCode>
                <c:ptCount val="31"/>
                <c:pt idx="0">
                  <c:v>0.99</c:v>
                </c:pt>
                <c:pt idx="1">
                  <c:v>0.99</c:v>
                </c:pt>
                <c:pt idx="2">
                  <c:v>0.99</c:v>
                </c:pt>
                <c:pt idx="3">
                  <c:v>0.94</c:v>
                </c:pt>
                <c:pt idx="4">
                  <c:v>0.88</c:v>
                </c:pt>
                <c:pt idx="5">
                  <c:v>0.65</c:v>
                </c:pt>
                <c:pt idx="6">
                  <c:v>0.84</c:v>
                </c:pt>
                <c:pt idx="7">
                  <c:v>0.81</c:v>
                </c:pt>
                <c:pt idx="8">
                  <c:v>0.66</c:v>
                </c:pt>
                <c:pt idx="9">
                  <c:v>0.69</c:v>
                </c:pt>
                <c:pt idx="10">
                  <c:v>0.75</c:v>
                </c:pt>
                <c:pt idx="11">
                  <c:v>0.8</c:v>
                </c:pt>
                <c:pt idx="12">
                  <c:v>0.88</c:v>
                </c:pt>
                <c:pt idx="13">
                  <c:v>0.46</c:v>
                </c:pt>
                <c:pt idx="14">
                  <c:v>0.86</c:v>
                </c:pt>
                <c:pt idx="15">
                  <c:v>0.62</c:v>
                </c:pt>
                <c:pt idx="16">
                  <c:v>0.56999999999999995</c:v>
                </c:pt>
                <c:pt idx="17">
                  <c:v>0.49</c:v>
                </c:pt>
                <c:pt idx="18">
                  <c:v>0.59</c:v>
                </c:pt>
                <c:pt idx="19">
                  <c:v>0.93</c:v>
                </c:pt>
                <c:pt idx="20">
                  <c:v>0.56999999999999995</c:v>
                </c:pt>
                <c:pt idx="21">
                  <c:v>0.6</c:v>
                </c:pt>
                <c:pt idx="22">
                  <c:v>0.35</c:v>
                </c:pt>
                <c:pt idx="23">
                  <c:v>0.46</c:v>
                </c:pt>
                <c:pt idx="24">
                  <c:v>0.21</c:v>
                </c:pt>
                <c:pt idx="25">
                  <c:v>0.17</c:v>
                </c:pt>
                <c:pt idx="26">
                  <c:v>0.71</c:v>
                </c:pt>
                <c:pt idx="27">
                  <c:v>0.18</c:v>
                </c:pt>
                <c:pt idx="28">
                  <c:v>0.05</c:v>
                </c:pt>
                <c:pt idx="29">
                  <c:v>7.0000000000000007E-2</c:v>
                </c:pt>
                <c:pt idx="3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2</c:f>
              <c:strCache>
                <c:ptCount val="31"/>
                <c:pt idx="0">
                  <c:v>Gillette</c:v>
                </c:pt>
                <c:pt idx="1">
                  <c:v>Harry's</c:v>
                </c:pt>
                <c:pt idx="2">
                  <c:v>Gillette</c:v>
                </c:pt>
                <c:pt idx="3">
                  <c:v>Harry's</c:v>
                </c:pt>
                <c:pt idx="4">
                  <c:v>Gillette</c:v>
                </c:pt>
                <c:pt idx="5">
                  <c:v>Gillette</c:v>
                </c:pt>
                <c:pt idx="6">
                  <c:v>Gillette</c:v>
                </c:pt>
                <c:pt idx="7">
                  <c:v>Harry's</c:v>
                </c:pt>
                <c:pt idx="8">
                  <c:v>Gillette</c:v>
                </c:pt>
                <c:pt idx="9">
                  <c:v>Gillette</c:v>
                </c:pt>
                <c:pt idx="10">
                  <c:v>Gillette</c:v>
                </c:pt>
                <c:pt idx="11">
                  <c:v>Schick</c:v>
                </c:pt>
                <c:pt idx="12">
                  <c:v>Dollar Shav</c:v>
                </c:pt>
                <c:pt idx="13">
                  <c:v>Gillette</c:v>
                </c:pt>
                <c:pt idx="14">
                  <c:v>Equate</c:v>
                </c:pt>
                <c:pt idx="15">
                  <c:v>Gillette</c:v>
                </c:pt>
                <c:pt idx="16">
                  <c:v>Gillette</c:v>
                </c:pt>
                <c:pt idx="17">
                  <c:v>Schick</c:v>
                </c:pt>
                <c:pt idx="18">
                  <c:v>Dollar Shav</c:v>
                </c:pt>
                <c:pt idx="19">
                  <c:v>Van Der Hag</c:v>
                </c:pt>
                <c:pt idx="20">
                  <c:v>Gillette</c:v>
                </c:pt>
                <c:pt idx="21">
                  <c:v>Equate</c:v>
                </c:pt>
                <c:pt idx="22">
                  <c:v>Gillette</c:v>
                </c:pt>
                <c:pt idx="23">
                  <c:v>Gillette</c:v>
                </c:pt>
                <c:pt idx="24">
                  <c:v>Gillette</c:v>
                </c:pt>
                <c:pt idx="25">
                  <c:v>Gillette</c:v>
                </c:pt>
                <c:pt idx="26">
                  <c:v>Equate</c:v>
                </c:pt>
                <c:pt idx="27">
                  <c:v>Gillette</c:v>
                </c:pt>
                <c:pt idx="28">
                  <c:v>Schick</c:v>
                </c:pt>
                <c:pt idx="29">
                  <c:v>Cremo</c:v>
                </c:pt>
                <c:pt idx="30">
                  <c:v>Schick</c:v>
                </c:pt>
              </c:strCache>
            </c:strRef>
          </c:cat>
          <c:val>
            <c:numRef>
              <c:f>Sheet1!$C$2:$C$32</c:f>
              <c:numCache>
                <c:formatCode>General</c:formatCode>
                <c:ptCount val="31"/>
                <c:pt idx="0">
                  <c:v>0.13989729773451523</c:v>
                </c:pt>
                <c:pt idx="1">
                  <c:v>0.27546043823635602</c:v>
                </c:pt>
                <c:pt idx="2">
                  <c:v>0.36671832876351557</c:v>
                </c:pt>
                <c:pt idx="3">
                  <c:v>0.43589434976170849</c:v>
                </c:pt>
                <c:pt idx="4">
                  <c:v>0.50194054478903216</c:v>
                </c:pt>
                <c:pt idx="5">
                  <c:v>0.56236535774955621</c:v>
                </c:pt>
                <c:pt idx="6">
                  <c:v>0.61061650478951091</c:v>
                </c:pt>
                <c:pt idx="7">
                  <c:v>0.65156391535650759</c:v>
                </c:pt>
                <c:pt idx="8">
                  <c:v>0.68399419742631129</c:v>
                </c:pt>
                <c:pt idx="9">
                  <c:v>0.71566500568046032</c:v>
                </c:pt>
                <c:pt idx="10">
                  <c:v>0.74576371258680385</c:v>
                </c:pt>
                <c:pt idx="11">
                  <c:v>0.77295374346108603</c:v>
                </c:pt>
                <c:pt idx="12">
                  <c:v>0.79704381816606817</c:v>
                </c:pt>
                <c:pt idx="13">
                  <c:v>0.82073002149432606</c:v>
                </c:pt>
                <c:pt idx="14">
                  <c:v>0.84422057968962438</c:v>
                </c:pt>
                <c:pt idx="15">
                  <c:v>0.86721827729909406</c:v>
                </c:pt>
                <c:pt idx="16">
                  <c:v>0.88867511369927887</c:v>
                </c:pt>
                <c:pt idx="17">
                  <c:v>0.90781271387519236</c:v>
                </c:pt>
                <c:pt idx="18">
                  <c:v>0.9243333366843588</c:v>
                </c:pt>
                <c:pt idx="19">
                  <c:v>0.93857834369333693</c:v>
                </c:pt>
                <c:pt idx="20">
                  <c:v>0.95172947332410562</c:v>
                </c:pt>
                <c:pt idx="21">
                  <c:v>0.9633909699024038</c:v>
                </c:pt>
                <c:pt idx="22">
                  <c:v>0.97395168425811163</c:v>
                </c:pt>
                <c:pt idx="23">
                  <c:v>0.98232938097048306</c:v>
                </c:pt>
                <c:pt idx="24">
                  <c:v>0.9889886160793474</c:v>
                </c:pt>
                <c:pt idx="25">
                  <c:v>0.99382044779705547</c:v>
                </c:pt>
                <c:pt idx="26">
                  <c:v>0.99741217182659792</c:v>
                </c:pt>
                <c:pt idx="27">
                  <c:v>0.99899401910530894</c:v>
                </c:pt>
                <c:pt idx="28">
                  <c:v>0.99956640648732664</c:v>
                </c:pt>
                <c:pt idx="29">
                  <c:v>0.99981408307807196</c:v>
                </c:pt>
                <c:pt idx="30">
                  <c:v>0.999868347240028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B$2:$B$24</c:f>
              <c:numCache>
                <c:formatCode>General</c:formatCode>
                <c:ptCount val="23"/>
                <c:pt idx="0">
                  <c:v>0.98599999999999999</c:v>
                </c:pt>
                <c:pt idx="1">
                  <c:v>0.98799999999999999</c:v>
                </c:pt>
                <c:pt idx="2">
                  <c:v>0.98499999999999999</c:v>
                </c:pt>
                <c:pt idx="3">
                  <c:v>0.92900000000000005</c:v>
                </c:pt>
                <c:pt idx="4">
                  <c:v>0.92100000000000004</c:v>
                </c:pt>
                <c:pt idx="5">
                  <c:v>0.86099999999999999</c:v>
                </c:pt>
                <c:pt idx="6">
                  <c:v>0.61899999999999999</c:v>
                </c:pt>
                <c:pt idx="7">
                  <c:v>0.91</c:v>
                </c:pt>
                <c:pt idx="8">
                  <c:v>0.94899999999999995</c:v>
                </c:pt>
                <c:pt idx="9">
                  <c:v>0.82599999999999996</c:v>
                </c:pt>
                <c:pt idx="10">
                  <c:v>0.97499999999999998</c:v>
                </c:pt>
                <c:pt idx="11">
                  <c:v>0.98499999999999999</c:v>
                </c:pt>
                <c:pt idx="12">
                  <c:v>0.83799999999999997</c:v>
                </c:pt>
                <c:pt idx="13">
                  <c:v>0.78200000000000003</c:v>
                </c:pt>
                <c:pt idx="14">
                  <c:v>0.84899999999999998</c:v>
                </c:pt>
                <c:pt idx="15">
                  <c:v>0.94199999999999995</c:v>
                </c:pt>
                <c:pt idx="16">
                  <c:v>0.89700000000000002</c:v>
                </c:pt>
                <c:pt idx="17">
                  <c:v>0.85199999999999998</c:v>
                </c:pt>
                <c:pt idx="18">
                  <c:v>0.92100000000000004</c:v>
                </c:pt>
                <c:pt idx="19">
                  <c:v>0.96299999999999997</c:v>
                </c:pt>
                <c:pt idx="20">
                  <c:v>0.626</c:v>
                </c:pt>
                <c:pt idx="21">
                  <c:v>0.73499999999999999</c:v>
                </c:pt>
                <c:pt idx="22">
                  <c:v>0.65300000000000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C$2:$C$24</c:f>
              <c:numCache>
                <c:formatCode>General</c:formatCode>
                <c:ptCount val="23"/>
                <c:pt idx="0">
                  <c:v>5.5338531387806152E-2</c:v>
                </c:pt>
                <c:pt idx="1">
                  <c:v>0.10790650810667221</c:v>
                </c:pt>
                <c:pt idx="2">
                  <c:v>0.14388799964068727</c:v>
                </c:pt>
                <c:pt idx="3">
                  <c:v>0.17146433485114362</c:v>
                </c:pt>
                <c:pt idx="4">
                  <c:v>0.1984780917301307</c:v>
                </c:pt>
                <c:pt idx="5">
                  <c:v>0.22512293380616138</c:v>
                </c:pt>
                <c:pt idx="6">
                  <c:v>0.24857341977608077</c:v>
                </c:pt>
                <c:pt idx="7">
                  <c:v>0.27093768250167199</c:v>
                </c:pt>
                <c:pt idx="8">
                  <c:v>0.29303024590441645</c:v>
                </c:pt>
                <c:pt idx="9">
                  <c:v>0.31243374082179159</c:v>
                </c:pt>
                <c:pt idx="10">
                  <c:v>0.33031069397314344</c:v>
                </c:pt>
                <c:pt idx="11">
                  <c:v>0.34812722765373427</c:v>
                </c:pt>
                <c:pt idx="12">
                  <c:v>0.36567226150300941</c:v>
                </c:pt>
                <c:pt idx="13">
                  <c:v>0.3813309746811781</c:v>
                </c:pt>
                <c:pt idx="14">
                  <c:v>0.39696321451891869</c:v>
                </c:pt>
                <c:pt idx="15">
                  <c:v>0.41236691848713342</c:v>
                </c:pt>
                <c:pt idx="16">
                  <c:v>0.42683268045183542</c:v>
                </c:pt>
                <c:pt idx="17">
                  <c:v>0.44102990442377027</c:v>
                </c:pt>
                <c:pt idx="18">
                  <c:v>0.45411180381537075</c:v>
                </c:pt>
                <c:pt idx="19">
                  <c:v>0.46658849475668263</c:v>
                </c:pt>
                <c:pt idx="20">
                  <c:v>0.47900073364842621</c:v>
                </c:pt>
                <c:pt idx="21">
                  <c:v>0.49113265029767267</c:v>
                </c:pt>
                <c:pt idx="22">
                  <c:v>0.5032027713917190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Gillette</c:v>
                </c:pt>
                <c:pt idx="1">
                  <c:v>Harry's</c:v>
                </c:pt>
                <c:pt idx="2">
                  <c:v>Gillette</c:v>
                </c:pt>
                <c:pt idx="3">
                  <c:v>Gillette</c:v>
                </c:pt>
                <c:pt idx="4">
                  <c:v>Harry's</c:v>
                </c:pt>
                <c:pt idx="5">
                  <c:v>Gillette</c:v>
                </c:pt>
                <c:pt idx="6">
                  <c:v>Gillette</c:v>
                </c:pt>
                <c:pt idx="7">
                  <c:v>Gillette</c:v>
                </c:pt>
                <c:pt idx="8">
                  <c:v>Gillette</c:v>
                </c:pt>
                <c:pt idx="9">
                  <c:v>Gillette</c:v>
                </c:pt>
                <c:pt idx="10">
                  <c:v>Gillette</c:v>
                </c:pt>
                <c:pt idx="11">
                  <c:v>Equa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D$2:$D$24</c:f>
              <c:numCache>
                <c:formatCode>General</c:formatCode>
                <c:ptCount val="23"/>
                <c:pt idx="0">
                  <c:v>275709.87829614605</c:v>
                </c:pt>
                <c:pt idx="1">
                  <c:v>261376.13360323888</c:v>
                </c:pt>
                <c:pt idx="2">
                  <c:v>179450.4467005076</c:v>
                </c:pt>
                <c:pt idx="3">
                  <c:v>145821.79763186219</c:v>
                </c:pt>
                <c:pt idx="4">
                  <c:v>144087.71986970684</c:v>
                </c:pt>
                <c:pt idx="5">
                  <c:v>152023.80952380953</c:v>
                </c:pt>
                <c:pt idx="6">
                  <c:v>186107.0436187399</c:v>
                </c:pt>
                <c:pt idx="7">
                  <c:v>120729.89010989011</c:v>
                </c:pt>
                <c:pt idx="8">
                  <c:v>114361.93888303479</c:v>
                </c:pt>
                <c:pt idx="9">
                  <c:v>115398.86198547216</c:v>
                </c:pt>
                <c:pt idx="10">
                  <c:v>90072.143589743588</c:v>
                </c:pt>
                <c:pt idx="11">
                  <c:v>88856.375634517768</c:v>
                </c:pt>
                <c:pt idx="12">
                  <c:v>102851.77804295943</c:v>
                </c:pt>
                <c:pt idx="13">
                  <c:v>98367.340153452678</c:v>
                </c:pt>
                <c:pt idx="14">
                  <c:v>90451.366313309787</c:v>
                </c:pt>
                <c:pt idx="15">
                  <c:v>80329.649681528666</c:v>
                </c:pt>
                <c:pt idx="16">
                  <c:v>79222.853957636558</c:v>
                </c:pt>
                <c:pt idx="17">
                  <c:v>81858.814553990611</c:v>
                </c:pt>
                <c:pt idx="18">
                  <c:v>69777.079261672086</c:v>
                </c:pt>
                <c:pt idx="19">
                  <c:v>63646.531671858778</c:v>
                </c:pt>
                <c:pt idx="20">
                  <c:v>97404.137380191693</c:v>
                </c:pt>
                <c:pt idx="21">
                  <c:v>81085.591836734689</c:v>
                </c:pt>
                <c:pt idx="22">
                  <c:v>90802.970903522204</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34197166949411889</c:v>
                </c:pt>
                <c:pt idx="1">
                  <c:v>0.501397759947289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105878.96</c:v>
                </c:pt>
                <c:pt idx="1">
                  <c:v>49360.4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0.94</c:v>
                </c:pt>
                <c:pt idx="1">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38562323914737534</c:v>
                </c:pt>
                <c:pt idx="1">
                  <c:v>0.542439396052585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369409.18085106381</c:v>
                </c:pt>
                <c:pt idx="1">
                  <c:v>150222.606382978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B$2:$B$23</c:f>
              <c:numCache>
                <c:formatCode>General</c:formatCode>
                <c:ptCount val="22"/>
                <c:pt idx="0">
                  <c:v>0.99</c:v>
                </c:pt>
                <c:pt idx="1">
                  <c:v>0.99</c:v>
                </c:pt>
                <c:pt idx="2">
                  <c:v>0.99</c:v>
                </c:pt>
                <c:pt idx="3">
                  <c:v>0.88</c:v>
                </c:pt>
                <c:pt idx="4">
                  <c:v>0.93</c:v>
                </c:pt>
                <c:pt idx="5">
                  <c:v>0.94</c:v>
                </c:pt>
                <c:pt idx="6">
                  <c:v>0.9</c:v>
                </c:pt>
                <c:pt idx="7">
                  <c:v>0.87</c:v>
                </c:pt>
                <c:pt idx="8">
                  <c:v>0.52</c:v>
                </c:pt>
                <c:pt idx="9">
                  <c:v>0.95</c:v>
                </c:pt>
                <c:pt idx="10">
                  <c:v>0.96</c:v>
                </c:pt>
                <c:pt idx="11">
                  <c:v>0.98</c:v>
                </c:pt>
                <c:pt idx="12">
                  <c:v>0.88</c:v>
                </c:pt>
                <c:pt idx="13">
                  <c:v>0.98</c:v>
                </c:pt>
                <c:pt idx="14">
                  <c:v>0.79</c:v>
                </c:pt>
                <c:pt idx="15">
                  <c:v>0.77</c:v>
                </c:pt>
                <c:pt idx="16">
                  <c:v>0.9</c:v>
                </c:pt>
                <c:pt idx="17">
                  <c:v>0.81</c:v>
                </c:pt>
                <c:pt idx="18">
                  <c:v>0.95</c:v>
                </c:pt>
                <c:pt idx="19">
                  <c:v>0.74</c:v>
                </c:pt>
                <c:pt idx="20">
                  <c:v>0.99</c:v>
                </c:pt>
                <c:pt idx="21">
                  <c:v>0.76</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FFBFBF"/>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C$2:$C$23</c:f>
              <c:numCache>
                <c:formatCode>General</c:formatCode>
                <c:ptCount val="22"/>
                <c:pt idx="0">
                  <c:v>5.3648963777222558E-2</c:v>
                </c:pt>
                <c:pt idx="1">
                  <c:v>9.4734225668362509E-2</c:v>
                </c:pt>
                <c:pt idx="2">
                  <c:v>0.12766184673401992</c:v>
                </c:pt>
                <c:pt idx="3">
                  <c:v>0.1588765927617051</c:v>
                </c:pt>
                <c:pt idx="4">
                  <c:v>0.18911038778213141</c:v>
                </c:pt>
                <c:pt idx="5">
                  <c:v>0.21708926680348797</c:v>
                </c:pt>
                <c:pt idx="6">
                  <c:v>0.24176312728542615</c:v>
                </c:pt>
                <c:pt idx="7">
                  <c:v>0.26513480359713648</c:v>
                </c:pt>
                <c:pt idx="8">
                  <c:v>0.288306211017896</c:v>
                </c:pt>
                <c:pt idx="9">
                  <c:v>0.31118643724610373</c:v>
                </c:pt>
                <c:pt idx="10">
                  <c:v>0.33212896595097202</c:v>
                </c:pt>
                <c:pt idx="11">
                  <c:v>0.35170856652217475</c:v>
                </c:pt>
                <c:pt idx="12">
                  <c:v>0.37067243625709428</c:v>
                </c:pt>
                <c:pt idx="13">
                  <c:v>0.38832379418432406</c:v>
                </c:pt>
                <c:pt idx="14">
                  <c:v>0.40569627680814674</c:v>
                </c:pt>
                <c:pt idx="15">
                  <c:v>0.42220179063196583</c:v>
                </c:pt>
                <c:pt idx="16">
                  <c:v>0.436844024106044</c:v>
                </c:pt>
                <c:pt idx="17">
                  <c:v>0.45075430445747228</c:v>
                </c:pt>
                <c:pt idx="18">
                  <c:v>0.46461809589435388</c:v>
                </c:pt>
                <c:pt idx="19">
                  <c:v>0.47776177462674607</c:v>
                </c:pt>
                <c:pt idx="20">
                  <c:v>0.49083947284712831</c:v>
                </c:pt>
                <c:pt idx="21">
                  <c:v>0.503851306923246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3</c:f>
              <c:strCache>
                <c:ptCount val="22"/>
                <c:pt idx="0">
                  <c:v>Gillette</c:v>
                </c:pt>
                <c:pt idx="1">
                  <c:v>Harry's</c:v>
                </c:pt>
                <c:pt idx="2">
                  <c:v>Gillette</c:v>
                </c:pt>
                <c:pt idx="3">
                  <c:v>Gillette</c:v>
                </c:pt>
                <c:pt idx="4">
                  <c:v>Gillette</c:v>
                </c:pt>
                <c:pt idx="5">
                  <c:v>Gillette</c:v>
                </c:pt>
                <c:pt idx="6">
                  <c:v>Harry's</c:v>
                </c:pt>
                <c:pt idx="7">
                  <c:v>Gillette</c:v>
                </c:pt>
                <c:pt idx="8">
                  <c:v>Gillette</c:v>
                </c:pt>
                <c:pt idx="9">
                  <c:v>Gillette</c:v>
                </c:pt>
                <c:pt idx="10">
                  <c:v>Gillette</c:v>
                </c:pt>
                <c:pt idx="11">
                  <c:v>Gillette</c:v>
                </c:pt>
                <c:pt idx="12">
                  <c:v>Gillette</c:v>
                </c:pt>
                <c:pt idx="13">
                  <c:v>Equate</c:v>
                </c:pt>
                <c:pt idx="14">
                  <c:v>Gillette</c:v>
                </c:pt>
                <c:pt idx="15">
                  <c:v>Gillette</c:v>
                </c:pt>
                <c:pt idx="16">
                  <c:v>Gillette</c:v>
                </c:pt>
                <c:pt idx="17">
                  <c:v>Gillette</c:v>
                </c:pt>
                <c:pt idx="18">
                  <c:v>Gillette</c:v>
                </c:pt>
                <c:pt idx="19">
                  <c:v>Harry's</c:v>
                </c:pt>
                <c:pt idx="20">
                  <c:v>Bic</c:v>
                </c:pt>
                <c:pt idx="21">
                  <c:v>Gillette</c:v>
                </c:pt>
              </c:strCache>
            </c:strRef>
          </c:cat>
          <c:val>
            <c:numRef>
              <c:f>Sheet1!$D$2:$D$23</c:f>
              <c:numCache>
                <c:formatCode>General</c:formatCode>
                <c:ptCount val="22"/>
                <c:pt idx="0">
                  <c:v>18627.454545454544</c:v>
                </c:pt>
                <c:pt idx="1">
                  <c:v>14265.212121212122</c:v>
                </c:pt>
                <c:pt idx="2">
                  <c:v>11432.797979797981</c:v>
                </c:pt>
                <c:pt idx="3">
                  <c:v>12192.829545454546</c:v>
                </c:pt>
                <c:pt idx="4">
                  <c:v>11174.731182795698</c:v>
                </c:pt>
                <c:pt idx="5">
                  <c:v>10231.276595744681</c:v>
                </c:pt>
                <c:pt idx="6">
                  <c:v>9423.7111111111117</c:v>
                </c:pt>
                <c:pt idx="7">
                  <c:v>9234.1724137931033</c:v>
                </c:pt>
                <c:pt idx="8">
                  <c:v>15317.096153846154</c:v>
                </c:pt>
                <c:pt idx="9">
                  <c:v>8278.7368421052633</c:v>
                </c:pt>
                <c:pt idx="10">
                  <c:v>7498.6875</c:v>
                </c:pt>
                <c:pt idx="11">
                  <c:v>6867.6020408163267</c:v>
                </c:pt>
                <c:pt idx="12">
                  <c:v>7407.5</c:v>
                </c:pt>
                <c:pt idx="13">
                  <c:v>6191.2653061224491</c:v>
                </c:pt>
                <c:pt idx="14">
                  <c:v>7558.9620253164558</c:v>
                </c:pt>
                <c:pt idx="15">
                  <c:v>7368.272727272727</c:v>
                </c:pt>
                <c:pt idx="16">
                  <c:v>5592.3222222222221</c:v>
                </c:pt>
                <c:pt idx="17">
                  <c:v>5903.0740740740739</c:v>
                </c:pt>
                <c:pt idx="18">
                  <c:v>5016.3263157894735</c:v>
                </c:pt>
                <c:pt idx="19">
                  <c:v>6105.3783783783783</c:v>
                </c:pt>
                <c:pt idx="20">
                  <c:v>4540.7070707070707</c:v>
                </c:pt>
                <c:pt idx="21">
                  <c:v>5885.0789473684208</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B$2:$B$20</c:f>
              <c:numCache>
                <c:formatCode>General</c:formatCode>
                <c:ptCount val="19"/>
                <c:pt idx="0">
                  <c:v>0.93</c:v>
                </c:pt>
                <c:pt idx="1">
                  <c:v>0.95</c:v>
                </c:pt>
                <c:pt idx="2">
                  <c:v>0.91</c:v>
                </c:pt>
                <c:pt idx="3">
                  <c:v>0.76</c:v>
                </c:pt>
                <c:pt idx="4">
                  <c:v>0.55000000000000004</c:v>
                </c:pt>
                <c:pt idx="5">
                  <c:v>0.79</c:v>
                </c:pt>
                <c:pt idx="6">
                  <c:v>0.73</c:v>
                </c:pt>
                <c:pt idx="7">
                  <c:v>0.66</c:v>
                </c:pt>
                <c:pt idx="8">
                  <c:v>0.9</c:v>
                </c:pt>
                <c:pt idx="9">
                  <c:v>0.8</c:v>
                </c:pt>
                <c:pt idx="10">
                  <c:v>0.56999999999999995</c:v>
                </c:pt>
                <c:pt idx="11">
                  <c:v>0.91</c:v>
                </c:pt>
                <c:pt idx="12">
                  <c:v>0.57999999999999996</c:v>
                </c:pt>
                <c:pt idx="13">
                  <c:v>0.87</c:v>
                </c:pt>
                <c:pt idx="14">
                  <c:v>0.28000000000000003</c:v>
                </c:pt>
                <c:pt idx="15">
                  <c:v>0.56000000000000005</c:v>
                </c:pt>
                <c:pt idx="16">
                  <c:v>0.81</c:v>
                </c:pt>
                <c:pt idx="17">
                  <c:v>0.71</c:v>
                </c:pt>
                <c:pt idx="18">
                  <c:v>0.4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FFBFBF"/>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C$2:$C$20</c:f>
              <c:numCache>
                <c:formatCode>General</c:formatCode>
                <c:ptCount val="19"/>
                <c:pt idx="0">
                  <c:v>6.1087047744617616E-2</c:v>
                </c:pt>
                <c:pt idx="1">
                  <c:v>0.11496672950225129</c:v>
                </c:pt>
                <c:pt idx="2">
                  <c:v>0.15531844008005341</c:v>
                </c:pt>
                <c:pt idx="3">
                  <c:v>0.18654378119524143</c:v>
                </c:pt>
                <c:pt idx="4">
                  <c:v>0.21732832399554053</c:v>
                </c:pt>
                <c:pt idx="5">
                  <c:v>0.24481174850342519</c:v>
                </c:pt>
                <c:pt idx="6">
                  <c:v>0.27186728510731728</c:v>
                </c:pt>
                <c:pt idx="7">
                  <c:v>0.29808449340137838</c:v>
                </c:pt>
                <c:pt idx="8">
                  <c:v>0.32086672088547424</c:v>
                </c:pt>
                <c:pt idx="9">
                  <c:v>0.34317860365717273</c:v>
                </c:pt>
                <c:pt idx="10">
                  <c:v>0.36381995303266296</c:v>
                </c:pt>
                <c:pt idx="11">
                  <c:v>0.38331238649904487</c:v>
                </c:pt>
                <c:pt idx="12">
                  <c:v>0.40225974241738377</c:v>
                </c:pt>
                <c:pt idx="13">
                  <c:v>0.42097371499360536</c:v>
                </c:pt>
                <c:pt idx="14">
                  <c:v>0.43917850096407579</c:v>
                </c:pt>
                <c:pt idx="15">
                  <c:v>0.4552899929118156</c:v>
                </c:pt>
                <c:pt idx="16">
                  <c:v>0.47113719030506346</c:v>
                </c:pt>
                <c:pt idx="17">
                  <c:v>0.48688272743422484</c:v>
                </c:pt>
                <c:pt idx="18">
                  <c:v>0.5022561127475775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0</c:f>
              <c:strCache>
                <c:ptCount val="19"/>
                <c:pt idx="0">
                  <c:v>Gillette</c:v>
                </c:pt>
                <c:pt idx="1">
                  <c:v>Harry's</c:v>
                </c:pt>
                <c:pt idx="2">
                  <c:v>Gillette</c:v>
                </c:pt>
                <c:pt idx="3">
                  <c:v>Gillette</c:v>
                </c:pt>
                <c:pt idx="4">
                  <c:v>Gillette</c:v>
                </c:pt>
                <c:pt idx="5">
                  <c:v>Gillette</c:v>
                </c:pt>
                <c:pt idx="6">
                  <c:v>Gillette</c:v>
                </c:pt>
                <c:pt idx="7">
                  <c:v>Harry's</c:v>
                </c:pt>
                <c:pt idx="8">
                  <c:v>Gillette</c:v>
                </c:pt>
                <c:pt idx="9">
                  <c:v>Gillette</c:v>
                </c:pt>
                <c:pt idx="10">
                  <c:v>Gillette</c:v>
                </c:pt>
                <c:pt idx="11">
                  <c:v>Equate</c:v>
                </c:pt>
                <c:pt idx="12">
                  <c:v>Gillette</c:v>
                </c:pt>
                <c:pt idx="13">
                  <c:v>Gillette</c:v>
                </c:pt>
                <c:pt idx="14">
                  <c:v>Gillette</c:v>
                </c:pt>
                <c:pt idx="15">
                  <c:v>Gillette</c:v>
                </c:pt>
                <c:pt idx="16">
                  <c:v>Gillette</c:v>
                </c:pt>
                <c:pt idx="17">
                  <c:v>Gillette</c:v>
                </c:pt>
                <c:pt idx="18">
                  <c:v>Gillette</c:v>
                </c:pt>
              </c:strCache>
            </c:strRef>
          </c:cat>
          <c:val>
            <c:numRef>
              <c:f>Sheet1!$D$2:$D$20</c:f>
              <c:numCache>
                <c:formatCode>General</c:formatCode>
                <c:ptCount val="19"/>
                <c:pt idx="0">
                  <c:v>17807.139784946237</c:v>
                </c:pt>
                <c:pt idx="1">
                  <c:v>15375.505263157895</c:v>
                </c:pt>
                <c:pt idx="2">
                  <c:v>12021.219780219781</c:v>
                </c:pt>
                <c:pt idx="3">
                  <c:v>11138.368421052632</c:v>
                </c:pt>
                <c:pt idx="4">
                  <c:v>15173.927272727271</c:v>
                </c:pt>
                <c:pt idx="5">
                  <c:v>9431.3037974683539</c:v>
                </c:pt>
                <c:pt idx="6">
                  <c:v>10047.575342465754</c:v>
                </c:pt>
                <c:pt idx="7">
                  <c:v>10768.878787878788</c:v>
                </c:pt>
                <c:pt idx="8">
                  <c:v>6862.4888888888891</c:v>
                </c:pt>
                <c:pt idx="9">
                  <c:v>7560.9125000000004</c:v>
                </c:pt>
                <c:pt idx="10">
                  <c:v>9817.2807017543873</c:v>
                </c:pt>
                <c:pt idx="11">
                  <c:v>5807.0109890109889</c:v>
                </c:pt>
                <c:pt idx="12">
                  <c:v>8856.2241379310362</c:v>
                </c:pt>
                <c:pt idx="13">
                  <c:v>5831.4252873563219</c:v>
                </c:pt>
                <c:pt idx="14">
                  <c:v>17626.071428571428</c:v>
                </c:pt>
                <c:pt idx="15">
                  <c:v>7799.6607142857129</c:v>
                </c:pt>
                <c:pt idx="16">
                  <c:v>5303.9012345679012</c:v>
                </c:pt>
                <c:pt idx="17">
                  <c:v>6012.1126760563384</c:v>
                </c:pt>
                <c:pt idx="18">
                  <c:v>8682.729166666666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B$2:$B$24</c:f>
              <c:numCache>
                <c:formatCode>General</c:formatCode>
                <c:ptCount val="23"/>
                <c:pt idx="0">
                  <c:v>0.99</c:v>
                </c:pt>
                <c:pt idx="1">
                  <c:v>0.99</c:v>
                </c:pt>
                <c:pt idx="2">
                  <c:v>0.99</c:v>
                </c:pt>
                <c:pt idx="3">
                  <c:v>0.94</c:v>
                </c:pt>
                <c:pt idx="4">
                  <c:v>0.94</c:v>
                </c:pt>
                <c:pt idx="5">
                  <c:v>0.88</c:v>
                </c:pt>
                <c:pt idx="6">
                  <c:v>0.65</c:v>
                </c:pt>
                <c:pt idx="7">
                  <c:v>0.96</c:v>
                </c:pt>
                <c:pt idx="8">
                  <c:v>0.92</c:v>
                </c:pt>
                <c:pt idx="9">
                  <c:v>0.84</c:v>
                </c:pt>
                <c:pt idx="10">
                  <c:v>0.99</c:v>
                </c:pt>
                <c:pt idx="11">
                  <c:v>0.86</c:v>
                </c:pt>
                <c:pt idx="12">
                  <c:v>0.98</c:v>
                </c:pt>
                <c:pt idx="13">
                  <c:v>0.89</c:v>
                </c:pt>
                <c:pt idx="14">
                  <c:v>0.81</c:v>
                </c:pt>
                <c:pt idx="15">
                  <c:v>0.95</c:v>
                </c:pt>
                <c:pt idx="16">
                  <c:v>0.91</c:v>
                </c:pt>
                <c:pt idx="17">
                  <c:v>0.87</c:v>
                </c:pt>
                <c:pt idx="18">
                  <c:v>0.94</c:v>
                </c:pt>
                <c:pt idx="19">
                  <c:v>0.66</c:v>
                </c:pt>
                <c:pt idx="20">
                  <c:v>0.69</c:v>
                </c:pt>
                <c:pt idx="21">
                  <c:v>0.97</c:v>
                </c:pt>
                <c:pt idx="22">
                  <c:v>0.7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FFBFBF"/>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C$2:$C$24</c:f>
              <c:numCache>
                <c:formatCode>General</c:formatCode>
                <c:ptCount val="23"/>
                <c:pt idx="0">
                  <c:v>5.5111046976871095E-2</c:v>
                </c:pt>
                <c:pt idx="1">
                  <c:v>0.10851469898097899</c:v>
                </c:pt>
                <c:pt idx="2">
                  <c:v>0.14446477073573616</c:v>
                </c:pt>
                <c:pt idx="3">
                  <c:v>0.1717159257232985</c:v>
                </c:pt>
                <c:pt idx="4">
                  <c:v>0.19884952815890175</c:v>
                </c:pt>
                <c:pt idx="5">
                  <c:v>0.2248677216175192</c:v>
                </c:pt>
                <c:pt idx="6">
                  <c:v>0.24867143162166533</c:v>
                </c:pt>
                <c:pt idx="7">
                  <c:v>0.27036093617567958</c:v>
                </c:pt>
                <c:pt idx="8">
                  <c:v>0.29198019772813916</c:v>
                </c:pt>
                <c:pt idx="9">
                  <c:v>0.31098822200215476</c:v>
                </c:pt>
                <c:pt idx="10">
                  <c:v>0.32871224990712017</c:v>
                </c:pt>
                <c:pt idx="11">
                  <c:v>0.34618262537262373</c:v>
                </c:pt>
                <c:pt idx="12">
                  <c:v>0.36361396789950667</c:v>
                </c:pt>
                <c:pt idx="13">
                  <c:v>0.37984566708809203</c:v>
                </c:pt>
                <c:pt idx="14">
                  <c:v>0.39597646234920891</c:v>
                </c:pt>
                <c:pt idx="15">
                  <c:v>0.41050138318075297</c:v>
                </c:pt>
                <c:pt idx="16">
                  <c:v>0.42487230132719384</c:v>
                </c:pt>
                <c:pt idx="17">
                  <c:v>0.43856752265819615</c:v>
                </c:pt>
                <c:pt idx="18">
                  <c:v>0.45163108284370895</c:v>
                </c:pt>
                <c:pt idx="19">
                  <c:v>0.4644066462574773</c:v>
                </c:pt>
                <c:pt idx="20">
                  <c:v>0.47688302306928798</c:v>
                </c:pt>
                <c:pt idx="21">
                  <c:v>0.48893975914301141</c:v>
                </c:pt>
                <c:pt idx="22">
                  <c:v>0.5007968234117325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4</c:f>
              <c:strCache>
                <c:ptCount val="23"/>
                <c:pt idx="0">
                  <c:v>Gillette</c:v>
                </c:pt>
                <c:pt idx="1">
                  <c:v>Harry's</c:v>
                </c:pt>
                <c:pt idx="2">
                  <c:v>Gillette</c:v>
                </c:pt>
                <c:pt idx="3">
                  <c:v>Harry's</c:v>
                </c:pt>
                <c:pt idx="4">
                  <c:v>Gillette</c:v>
                </c:pt>
                <c:pt idx="5">
                  <c:v>Gillette</c:v>
                </c:pt>
                <c:pt idx="6">
                  <c:v>Gillette</c:v>
                </c:pt>
                <c:pt idx="7">
                  <c:v>Gillette</c:v>
                </c:pt>
                <c:pt idx="8">
                  <c:v>Gillette</c:v>
                </c:pt>
                <c:pt idx="9">
                  <c:v>Gillette</c:v>
                </c:pt>
                <c:pt idx="10">
                  <c:v>Equate</c:v>
                </c:pt>
                <c:pt idx="11">
                  <c:v>Gillette</c:v>
                </c:pt>
                <c:pt idx="12">
                  <c:v>Gillette</c:v>
                </c:pt>
                <c:pt idx="13">
                  <c:v>Harry's</c:v>
                </c:pt>
                <c:pt idx="14">
                  <c:v>Harry's</c:v>
                </c:pt>
                <c:pt idx="15">
                  <c:v>Gillette</c:v>
                </c:pt>
                <c:pt idx="16">
                  <c:v>Gillette</c:v>
                </c:pt>
                <c:pt idx="17">
                  <c:v>Gillette</c:v>
                </c:pt>
                <c:pt idx="18">
                  <c:v>Harry's</c:v>
                </c:pt>
                <c:pt idx="19">
                  <c:v>Gillette</c:v>
                </c:pt>
                <c:pt idx="20">
                  <c:v>Gillette</c:v>
                </c:pt>
                <c:pt idx="21">
                  <c:v>Gillette</c:v>
                </c:pt>
                <c:pt idx="22">
                  <c:v>Gillette</c:v>
                </c:pt>
              </c:strCache>
            </c:strRef>
          </c:cat>
          <c:val>
            <c:numRef>
              <c:f>Sheet1!$D$2:$D$24</c:f>
              <c:numCache>
                <c:formatCode>General</c:formatCode>
                <c:ptCount val="23"/>
                <c:pt idx="0">
                  <c:v>239240.52525252526</c:v>
                </c:pt>
                <c:pt idx="1">
                  <c:v>231828.61616161617</c:v>
                </c:pt>
                <c:pt idx="2">
                  <c:v>156061.52525252526</c:v>
                </c:pt>
                <c:pt idx="3">
                  <c:v>124591.47872340426</c:v>
                </c:pt>
                <c:pt idx="4">
                  <c:v>124054.03191489361</c:v>
                </c:pt>
                <c:pt idx="5">
                  <c:v>127064.94318181818</c:v>
                </c:pt>
                <c:pt idx="6">
                  <c:v>157384.72307692308</c:v>
                </c:pt>
                <c:pt idx="7">
                  <c:v>97097.864583333328</c:v>
                </c:pt>
                <c:pt idx="8">
                  <c:v>100991.38043478261</c:v>
                </c:pt>
                <c:pt idx="9">
                  <c:v>97249.857142857145</c:v>
                </c:pt>
                <c:pt idx="10">
                  <c:v>76941.121212121216</c:v>
                </c:pt>
                <c:pt idx="11">
                  <c:v>87304.186046511633</c:v>
                </c:pt>
                <c:pt idx="12">
                  <c:v>76442.704081632648</c:v>
                </c:pt>
                <c:pt idx="13">
                  <c:v>78380</c:v>
                </c:pt>
                <c:pt idx="14">
                  <c:v>85585.864197530871</c:v>
                </c:pt>
                <c:pt idx="15">
                  <c:v>65708.484210526309</c:v>
                </c:pt>
                <c:pt idx="16">
                  <c:v>67869.461538461532</c:v>
                </c:pt>
                <c:pt idx="17">
                  <c:v>67652.068965517246</c:v>
                </c:pt>
                <c:pt idx="18">
                  <c:v>59726.212765957447</c:v>
                </c:pt>
                <c:pt idx="19">
                  <c:v>83189.287878787873</c:v>
                </c:pt>
                <c:pt idx="20">
                  <c:v>77708.884057971009</c:v>
                </c:pt>
                <c:pt idx="21">
                  <c:v>53418.206185567011</c:v>
                </c:pt>
                <c:pt idx="22">
                  <c:v>67943.38666666667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B$2:$B$13</c:f>
              <c:numCache>
                <c:formatCode>General</c:formatCode>
                <c:ptCount val="12"/>
                <c:pt idx="0">
                  <c:v>0.98599999999999999</c:v>
                </c:pt>
                <c:pt idx="1">
                  <c:v>0.98799999999999999</c:v>
                </c:pt>
                <c:pt idx="2">
                  <c:v>0.98499999999999999</c:v>
                </c:pt>
                <c:pt idx="3">
                  <c:v>0.92900000000000005</c:v>
                </c:pt>
                <c:pt idx="4">
                  <c:v>0.92100000000000004</c:v>
                </c:pt>
                <c:pt idx="5">
                  <c:v>0.86099999999999999</c:v>
                </c:pt>
                <c:pt idx="6">
                  <c:v>0.61899999999999999</c:v>
                </c:pt>
                <c:pt idx="7">
                  <c:v>0.94899999999999995</c:v>
                </c:pt>
                <c:pt idx="8">
                  <c:v>0.82599999999999996</c:v>
                </c:pt>
                <c:pt idx="9">
                  <c:v>0.83799999999999997</c:v>
                </c:pt>
                <c:pt idx="10">
                  <c:v>0.78200000000000003</c:v>
                </c:pt>
                <c:pt idx="11">
                  <c:v>0.8489999999999999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C$2:$C$13</c:f>
              <c:numCache>
                <c:formatCode>General</c:formatCode>
                <c:ptCount val="12"/>
                <c:pt idx="0">
                  <c:v>8.2511248256966568E-2</c:v>
                </c:pt>
                <c:pt idx="1">
                  <c:v>0.16089152450644711</c:v>
                </c:pt>
                <c:pt idx="2">
                  <c:v>0.21454090236603462</c:v>
                </c:pt>
                <c:pt idx="3">
                  <c:v>0.2556579646281652</c:v>
                </c:pt>
                <c:pt idx="4">
                  <c:v>0.29593620736965198</c:v>
                </c:pt>
                <c:pt idx="5">
                  <c:v>0.33566438815378236</c:v>
                </c:pt>
                <c:pt idx="6">
                  <c:v>0.37062969751573072</c:v>
                </c:pt>
                <c:pt idx="7">
                  <c:v>0.40357030757243878</c:v>
                </c:pt>
                <c:pt idx="8">
                  <c:v>0.43250144372711291</c:v>
                </c:pt>
                <c:pt idx="9">
                  <c:v>0.45866156412259951</c:v>
                </c:pt>
                <c:pt idx="10">
                  <c:v>0.48200912933668483</c:v>
                </c:pt>
                <c:pt idx="11">
                  <c:v>0.5053172220835854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13</c:f>
              <c:strCache>
                <c:ptCount val="12"/>
                <c:pt idx="0">
                  <c:v>Gillette</c:v>
                </c:pt>
                <c:pt idx="1">
                  <c:v>Harry's</c:v>
                </c:pt>
                <c:pt idx="2">
                  <c:v>Gillette</c:v>
                </c:pt>
                <c:pt idx="3">
                  <c:v>Gillette</c:v>
                </c:pt>
                <c:pt idx="4">
                  <c:v>Harry's</c:v>
                </c:pt>
                <c:pt idx="5">
                  <c:v>Gillette</c:v>
                </c:pt>
                <c:pt idx="6">
                  <c:v>Gillette</c:v>
                </c:pt>
                <c:pt idx="7">
                  <c:v>Gillette</c:v>
                </c:pt>
                <c:pt idx="8">
                  <c:v>Gillette</c:v>
                </c:pt>
                <c:pt idx="9">
                  <c:v>Gillette</c:v>
                </c:pt>
                <c:pt idx="10">
                  <c:v>Harry's</c:v>
                </c:pt>
                <c:pt idx="11">
                  <c:v>Harry's</c:v>
                </c:pt>
              </c:strCache>
            </c:strRef>
          </c:cat>
          <c:val>
            <c:numRef>
              <c:f>Sheet1!$D$2:$D$13</c:f>
              <c:numCache>
                <c:formatCode>General</c:formatCode>
                <c:ptCount val="12"/>
                <c:pt idx="0">
                  <c:v>275709.87829614605</c:v>
                </c:pt>
                <c:pt idx="1">
                  <c:v>261376.13360323888</c:v>
                </c:pt>
                <c:pt idx="2">
                  <c:v>179450.4467005076</c:v>
                </c:pt>
                <c:pt idx="3">
                  <c:v>145821.79763186219</c:v>
                </c:pt>
                <c:pt idx="4">
                  <c:v>144087.71986970684</c:v>
                </c:pt>
                <c:pt idx="5">
                  <c:v>152023.80952380953</c:v>
                </c:pt>
                <c:pt idx="6">
                  <c:v>186107.0436187399</c:v>
                </c:pt>
                <c:pt idx="7">
                  <c:v>114361.93888303479</c:v>
                </c:pt>
                <c:pt idx="8">
                  <c:v>115398.86198547216</c:v>
                </c:pt>
                <c:pt idx="9">
                  <c:v>102851.77804295943</c:v>
                </c:pt>
                <c:pt idx="10">
                  <c:v>98367.340153452678</c:v>
                </c:pt>
                <c:pt idx="11">
                  <c:v>90451.366313309787</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c:f>
              <c:strCache>
                <c:ptCount val="2"/>
                <c:pt idx="0">
                  <c:v>Gillette</c:v>
                </c:pt>
                <c:pt idx="1">
                  <c:v>Gillette</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c:f>
              <c:strCache>
                <c:ptCount val="2"/>
                <c:pt idx="0">
                  <c:v>Gillette</c:v>
                </c:pt>
                <c:pt idx="1">
                  <c:v>Gillette</c:v>
                </c:pt>
              </c:strCache>
            </c:strRef>
          </c:cat>
          <c:val>
            <c:numRef>
              <c:f>Sheet1!$C$2:$C$3</c:f>
              <c:numCache>
                <c:formatCode>General</c:formatCode>
                <c:ptCount val="2"/>
                <c:pt idx="0">
                  <c:v>0.46667755944280054</c:v>
                </c:pt>
                <c:pt idx="1">
                  <c:v>0.6842411339759013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3</c:f>
              <c:strCache>
                <c:ptCount val="2"/>
                <c:pt idx="0">
                  <c:v>Gillette</c:v>
                </c:pt>
                <c:pt idx="1">
                  <c:v>Gillette</c:v>
                </c:pt>
              </c:strCache>
            </c:strRef>
          </c:cat>
          <c:val>
            <c:numRef>
              <c:f>Sheet1!$D$2:$D$3</c:f>
              <c:numCache>
                <c:formatCode>General</c:formatCode>
                <c:ptCount val="2"/>
                <c:pt idx="0">
                  <c:v>105878.96</c:v>
                </c:pt>
                <c:pt idx="1">
                  <c:v>49360.43</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c:f>
              <c:strCache>
                <c:ptCount val="1"/>
                <c:pt idx="0">
                  <c:v>Gillette</c:v>
                </c:pt>
              </c:strCache>
            </c:strRef>
          </c:cat>
          <c:val>
            <c:numRef>
              <c:f>Sheet1!$B$2:$B$2</c:f>
              <c:numCache>
                <c:formatCode>General</c:formatCode>
                <c:ptCount val="1"/>
                <c:pt idx="0">
                  <c:v>0.9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KU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c:f>
              <c:strCache>
                <c:ptCount val="1"/>
                <c:pt idx="0">
                  <c:v>Gillette</c:v>
                </c:pt>
              </c:strCache>
            </c:strRef>
          </c:cat>
          <c:val>
            <c:numRef>
              <c:f>Sheet1!$C$2:$C$2</c:f>
              <c:numCache>
                <c:formatCode>General</c:formatCode>
                <c:ptCount val="1"/>
                <c:pt idx="0">
                  <c:v>0.5197093055146986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SKU Sales Rate</c:v>
                </c:pt>
              </c:strCache>
            </c:strRef>
          </c:tx>
          <c:spPr>
            <a:ln w="28575" cap="rnd">
              <a:solidFill>
                <a:srgbClr val="C00000"/>
              </a:solidFill>
              <a:round/>
            </a:ln>
            <a:effectLst/>
          </c:spPr>
          <c:marker>
            <c:symbol val="none"/>
          </c:marker>
          <c:cat>
            <c:strRef>
              <c:f>Sheet1!$A$2:$A$2</c:f>
              <c:strCache>
                <c:ptCount val="1"/>
                <c:pt idx="0">
                  <c:v>Gillette</c:v>
                </c:pt>
              </c:strCache>
            </c:strRef>
          </c:cat>
          <c:val>
            <c:numRef>
              <c:f>Sheet1!$D$2:$D$2</c:f>
              <c:numCache>
                <c:formatCode>General</c:formatCode>
                <c:ptCount val="1"/>
                <c:pt idx="0">
                  <c:v>369409.18085106381</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7/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7/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7/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7/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7/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7/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7/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7/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7/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2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2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2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2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2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2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2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2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2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2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2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2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2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2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2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2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2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2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5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5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5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5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5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5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5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5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6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6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6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6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6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6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6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6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6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6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27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27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27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27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27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27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27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27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27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27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28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28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28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28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28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28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28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28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28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28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29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29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29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29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29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29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29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29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29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29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0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0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0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03.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04.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0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06.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07.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08.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09.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10.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11.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12.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13.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14.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15.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16.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17.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18.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19.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20.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21.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22.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23.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24.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25.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26.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27.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28.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29.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30.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31.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3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4034561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0275634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8344077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8897195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12310501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22929294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2179520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71294295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22322442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130463348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Disposable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70017783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3352080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399975940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187191669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398474931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6651954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22277714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azor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148087606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14085440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7184264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35381760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271693073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913628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129428513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Refill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5209098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5350381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402574170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73404314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195997145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251658135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dgewell Personal Car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40241151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dgewell Personal Car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37510164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dgewell Personal Car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5245405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dgewell Personal Car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445901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53484225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dgewell Personal Car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130503306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55074106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80503614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69074232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421724459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70869705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dgewell Personal Car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49959135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dgewell Personal Car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337443393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dgewell Personal Car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86761250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dgewell Personal Car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11982176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28274321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dgewell Personal Car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0340201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dgewell Personal Car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428588679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dgewell Personal Car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72320849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dgewell Personal Car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226535532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dgewell Personal Car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183555024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41779046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2856654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369873809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21754764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982804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27801343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4362829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16492852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29886417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98473314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59442951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5932342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41683664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Manual Shave Men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330483903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78142528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4045246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21551813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187525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00223334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37666754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172348659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15546587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49364983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40655142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36717363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ystem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47709791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25466262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50840936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375126497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Bj'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410915741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Sam's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24073868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37167952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189814813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134066634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107110653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342324756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Disposable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144271251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834002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304277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86702668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198694458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52069329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43618327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52307308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226328172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8011560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9253853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76428457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azors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1849941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402938141"/>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245051527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41368483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298445312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197705974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76722873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Div1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273624077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392412017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Nm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345578603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Schick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9891947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Equate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3253090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16054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341168719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Refills | Cremo | Walmart Sc Corp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310220121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3209893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3"/>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93141">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93141">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93141">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93141">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93141">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93141">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93141">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352710667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68"/>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234528">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234528">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234528">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234528">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234528">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298966246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75118538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19497177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Manual Shave Men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417360101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71907230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32834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32834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328340">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32834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219395141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10425">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6673440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63194957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47170980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32842211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ystem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HYBRID 5 BLADE HYBRID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215952023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276767551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5"/>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469057">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469057">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469057">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BG PL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469057">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3 BLADE DISPOSABLE SENSITIVE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312171171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5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GREEN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BLUE GREEN 3 BLADE DISPOSABLE SENSITIVE 2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3 SENSITIVE BLUE GRAY 3 BLADE DISPOSABLE SENSITIVE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12148819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BASE 3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379654759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COMFORT 3 MULTI COLOR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4 4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BLACK WHITE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85893439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Disposable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5 5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MULTI COLOR 3 BLADE DISPOSABLE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PIVOT 2 BLADE DISPOSABLE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2 BLADE DISPOSABLE NORMAL 1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GREEN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DISPOSABLE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3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SINGLE SENSITIVE 1 BLADE DISPOSABLE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PLUS 2 BLADE DISPOSABLE NORMAL 2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2 SENSITIV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CHICK XTREME 3 SENSITIVE BLACK 3 BLADE DISPOSABLE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SENSITIVE MULTI COLOR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2 FIXED BLUE 2 BLADE DISPOSABLE NORMAL 2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TB (TWIN BLADE) BLUE 2 BLADE DISPOSABLE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5 5 BLADE DISPOSABLE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ic</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IC FLEX 5 5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ENSOR 3 COMFORT MULTI COLOR 3 BLADE DISPOSABLE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SPEED 3 SENSITIVE GREEN 3 BLADE DISPOSABLE SENSITIVE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94450394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2585038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28143370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4"/>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547233">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1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547233">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547233">
                <a:tc>
                  <a:txBody>
                    <a:bodyPr/>
                    <a:lstStyle/>
                    <a:p>
                      <a:pPr algn="ctr">
                        <a:defRPr sz="800">
                          <a:latin typeface="Nexa Book"/>
                        </a:defRPr>
                      </a:pPr>
                      <a:r>
                        <a:t>Pbg P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CALIBER 3 3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547233">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HOLIDAY GIFT PACK 6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301645305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INTIMATE BLACK 5 BLADE RAZOR 9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21656613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151796556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AZOR SENSITIVE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SILVER BLACK 5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RED BLUE WHITE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287412192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azor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ORANGE 5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URF BLU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7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BLACK 6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AZOR NORMAL 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1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CRAFT HANDLE SILVER 5 BLADE RAZOR NORMAL 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BLACK HOLIDAY GIFT PACK 5 BLADE RAZOR NORMAL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GRAY HOLIDAY GIFT PACK 5 BLADE RAZOR SENSITIVE 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AZOR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84936619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403176674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Bj'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313312952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Sam's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2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POWER 2 BLADE REFILL SENSITIVE 13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82085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5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74324699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Div1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220113070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Nm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SKINGUARD 2 BLADE REFILL SENSITIVE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17648796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76178464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Refills | Walmart Sc Corp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Harry'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ARRY'S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MACH 3 3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SHIELD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6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Equa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QUATE EASY FIT 5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FUSION 5 PROGLIDE 5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illett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ILLETTE LABS 5 BLADE REFILL NORMAL 4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chick</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HYDRO 5 SENSITIVE 5 BLADE REFILL SENSITIVE 12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Dollar Shave Club</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DOLLAR SHAVE CLUB 6 BLADE REFILL NORMAL 8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Van Der Hage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VAN DER HAGEN 2 BLADE REFILL NORMAL 10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80356427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6349746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264173330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918877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65481136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285958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27042517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847280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359990117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189729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238004234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490385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5308983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2198044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57391319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5786028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236718436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20054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4279081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8315109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87400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186918961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Manual Shave Men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160523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85090196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198618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320052920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974573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35835805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145617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115245224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80552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200719351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1809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10611357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798938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1256998704"/>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77191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286255264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5342683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30006850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52379695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697562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355072726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672300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39011113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ystem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814089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364503444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20973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380674162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652430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140493450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0180856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32462680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03259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1801698566"/>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2252771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19480771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02497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199382819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59742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691745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249604245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Disposable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055709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197168765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9082577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41414803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8920952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260791271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62743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84759117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7647354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11469815"/>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4250746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156818567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1336631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259342168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6863479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209648968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04701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351980384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246662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41282978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45840156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6899538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98583874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azor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183292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50445629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079782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352109072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4931400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1292877810"/>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416494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41213074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957557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82413940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Div1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463105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1442775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558576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47521130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Nm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015796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356147152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Schick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61927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42321974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390194116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Equate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83438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65373197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Refills | Cremo | Walmart Sc Corp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614531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193194485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588401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139691899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1348452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385912346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378638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1061108225"/>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996667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263939954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0664975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175384260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276320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19633943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8525836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2247765702"/>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4391717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4106973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6979007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823115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77773165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058150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59229096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Manual Shave Men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180084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55521513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604339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58984467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95340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237351878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660611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106038343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243528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49518242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780332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349758915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77422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303114566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3138696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534874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18533997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24591781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0690456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57654706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590997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351930287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488979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23092583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ystem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008222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3792458144"/>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263767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354309424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170364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249960612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6723626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80752857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4426981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80296383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1516001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56704601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786020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36841823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57522929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8435438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273610676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Disposable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9966599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23133888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9128750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425127191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148358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1041641027"/>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65887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71601426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188698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411030662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5153074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2744127590"/>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1083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19064370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634932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51180320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358720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4514340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127856735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793884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1960308173"/>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358364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4116291035"/>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azor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173992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1850820018"/>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302285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411272447"/>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0693321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229979164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2691541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555151178"/>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4658343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3466404562"/>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Div1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3598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69335584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2190554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84110744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Nm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386010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234397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74452068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Schick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6000070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222728986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Equate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1601333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17379677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Refills | Cremo | Walmart Sc Corp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17658914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20402973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Sam's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1369534752"/>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Bj's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147211689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2992444325"/>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402283355"/>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26522297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58244936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807548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352868601"/>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Bj's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17818492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Sam's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320076569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323288846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Sam's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392836311"/>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87261066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Div1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995621809"/>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259512441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Nm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151475269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382018251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Manual Shave Men | Walmart Sc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1108536">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1108536">
                <a:tc>
                  <a:txBody>
                    <a:bodyPr/>
                    <a:lstStyle/>
                    <a:p>
                      <a:pPr algn="ctr">
                        <a:defRPr sz="800" b="1">
                          <a:latin typeface="Nexa (Headings)"/>
                        </a:defRPr>
                      </a:pPr>
                      <a:r>
                        <a:t>System</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1108536">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6274540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37897379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Bj's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257609311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Sam's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385937674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109160471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1686406193"/>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4223326360"/>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Edgewell Personal Car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277377015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1909771022"/>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Bj's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j'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2437964503"/>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26117797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Sam's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11479684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548567400"/>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Sam's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Sam's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2238992701"/>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239903121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Div1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Div1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2696343350"/>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354730949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Nm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Nm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2208110265"/>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Schick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357285970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Manual Shave Men | Walmart Sc Corp | Cremo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Walmart Sc Corp</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Disposables</a:t>
                      </a:r>
                    </a:p>
                  </a:txBody>
                  <a:tcPr marL="3810" marR="3810" marT="3810" marB="0" anchor="ctr">
                    <a:noFill/>
                  </a:tcPr>
                </a:tc>
                <a:tc>
                  <a:txBody>
                    <a:bodyPr/>
                    <a:lstStyle/>
                    <a:p>
                      <a:pPr algn="ctr">
                        <a:defRPr sz="800">
                          <a:latin typeface="Nexa Book"/>
                        </a:defRPr>
                      </a:pPr>
                      <a:r>
                        <a:t>4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Refills</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Razors</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3894007928"/>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3102015009"/>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84683284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2404712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125216437"/>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4157402163"/>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216118267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301599761"/>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2658134577"/>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4226913483"/>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250681179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3786917002"/>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336050532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60505812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3844307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80508723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2519374855"/>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406253387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422923896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56171705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2628213471"/>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277574796"/>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91094777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1726791653"/>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582179937"/>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21152607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92398309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412893871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219994908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2300424823"/>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46812104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341980688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33401174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1656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481897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537454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26486030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4219417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6656962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8414406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18804977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5824236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661051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Disposable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4812347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785493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2134894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1127709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6147973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1512939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30298393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azor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05277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3759660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26586953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4165860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Div1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74975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Nm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633346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Manual Shave Men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3398297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Refills | Walmart Sc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458074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18174542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40765942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2827913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7600907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13153028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Manual Shave Men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6</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5421506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23293552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8470073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708583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Walmart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726660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3343516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321446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ystem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21962417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15616592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4481715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23062129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28798951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33681471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Disposable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585081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391987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Bj'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0435614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1221891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388689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6241488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368545037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azor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24715093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15568255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35458345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8582095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59845040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801700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ystem | Sam's Corp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123919355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Refills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4934234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377867674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404730232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377309218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Div1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8689154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Nm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142995657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Manual Shave Men | Walmart Sc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7251852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Walmart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622432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Bj'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295683865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9/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pPr>
              <a:defRPr sz="1200">
                <a:latin typeface="Nexa (Headings)"/>
              </a:defRPr>
            </a:pPr>
            <a:r>
              <a:t>Top 50% cumulative share | System | Sam's Corp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033359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TotalTime>
  <Words>28948</Words>
  <Application>Microsoft Office PowerPoint</Application>
  <PresentationFormat>On-screen Show (16:9)</PresentationFormat>
  <Paragraphs>7806</Paragraphs>
  <Slides>396</Slides>
  <Notes>8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96</vt:i4>
      </vt:variant>
    </vt:vector>
  </HeadingPairs>
  <TitlesOfParts>
    <vt:vector size="40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Top 50% cumulative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Brand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19</cp:revision>
  <dcterms:created xsi:type="dcterms:W3CDTF">2024-07-05T14:32:36Z</dcterms:created>
  <dcterms:modified xsi:type="dcterms:W3CDTF">2025-07-09T14:1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